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4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8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2" r:id="rId2"/>
    <p:sldMasterId id="2147483663" r:id="rId3"/>
  </p:sldMasterIdLst>
  <p:notesMasterIdLst>
    <p:notesMasterId r:id="rId33"/>
  </p:notesMasterIdLst>
  <p:handoutMasterIdLst>
    <p:handoutMasterId r:id="rId34"/>
  </p:handoutMasterIdLst>
  <p:sldIdLst>
    <p:sldId id="258" r:id="rId4"/>
    <p:sldId id="262" r:id="rId5"/>
    <p:sldId id="263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2" r:id="rId15"/>
    <p:sldId id="273" r:id="rId16"/>
    <p:sldId id="274" r:id="rId17"/>
    <p:sldId id="275" r:id="rId18"/>
    <p:sldId id="276" r:id="rId19"/>
    <p:sldId id="277" r:id="rId20"/>
    <p:sldId id="278" r:id="rId21"/>
    <p:sldId id="279" r:id="rId22"/>
    <p:sldId id="280" r:id="rId23"/>
    <p:sldId id="281" r:id="rId24"/>
    <p:sldId id="282" r:id="rId25"/>
    <p:sldId id="284" r:id="rId26"/>
    <p:sldId id="287" r:id="rId27"/>
    <p:sldId id="286" r:id="rId28"/>
    <p:sldId id="285" r:id="rId29"/>
    <p:sldId id="288" r:id="rId30"/>
    <p:sldId id="289" r:id="rId31"/>
    <p:sldId id="290" r:id="rId32"/>
  </p:sldIdLst>
  <p:sldSz cx="9144000" cy="6858000" type="screen4x3"/>
  <p:notesSz cx="6858000" cy="9144000"/>
  <p:custDataLst>
    <p:tags r:id="rId35"/>
  </p:custDataLst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hislaine Challamel" initials="GC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113A"/>
    <a:srgbClr val="4BACC6"/>
    <a:srgbClr val="FCC00E"/>
    <a:srgbClr val="EB5356"/>
    <a:srgbClr val="EA5356"/>
    <a:srgbClr val="1DB8D1"/>
    <a:srgbClr val="833E90"/>
    <a:srgbClr val="FFFFFF"/>
    <a:srgbClr val="C0504D"/>
    <a:srgbClr val="FC8A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7594" autoAdjust="0"/>
    <p:restoredTop sz="69518" autoAdjust="0"/>
  </p:normalViewPr>
  <p:slideViewPr>
    <p:cSldViewPr snapToGrid="0" snapToObjects="1">
      <p:cViewPr varScale="1">
        <p:scale>
          <a:sx n="82" d="100"/>
          <a:sy n="82" d="100"/>
        </p:scale>
        <p:origin x="230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21" Type="http://schemas.openxmlformats.org/officeDocument/2006/relationships/slide" Target="slides/slide18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gs" Target="tags/tag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B25B42-C66C-4685-9C91-4501DF671223}" type="doc">
      <dgm:prSet loTypeId="urn:microsoft.com/office/officeart/2005/8/layout/arrow2" loCatId="process" qsTypeId="urn:microsoft.com/office/officeart/2005/8/quickstyle/simple1" qsCatId="simple" csTypeId="urn:microsoft.com/office/officeart/2005/8/colors/accent1_4" csCatId="accent1" phldr="1"/>
      <dgm:spPr/>
    </dgm:pt>
    <dgm:pt modelId="{DBB8B2F5-B64B-4E5A-9766-6D96B893FC0D}">
      <dgm:prSet phldrT="[Texte]"/>
      <dgm:spPr/>
      <dgm:t>
        <a:bodyPr/>
        <a:lstStyle/>
        <a:p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Accompagnement</a:t>
          </a:r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 </a:t>
          </a:r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personnalisé</a:t>
          </a:r>
          <a:endParaRPr lang="fr-FR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gm:t>
    </dgm:pt>
    <dgm:pt modelId="{CF581AA2-A7C7-48D7-A4C0-A21BC52A4E65}" type="parTrans" cxnId="{126A765F-8EAC-47ED-8CC9-3EB573431073}">
      <dgm:prSet/>
      <dgm:spPr/>
      <dgm:t>
        <a:bodyPr/>
        <a:lstStyle/>
        <a:p>
          <a:endParaRPr lang="fr-FR"/>
        </a:p>
      </dgm:t>
    </dgm:pt>
    <dgm:pt modelId="{198B0BC0-EB94-4099-9588-BDB47B21C7E4}" type="sibTrans" cxnId="{126A765F-8EAC-47ED-8CC9-3EB573431073}">
      <dgm:prSet/>
      <dgm:spPr/>
      <dgm:t>
        <a:bodyPr/>
        <a:lstStyle/>
        <a:p>
          <a:endParaRPr lang="fr-FR"/>
        </a:p>
      </dgm:t>
    </dgm:pt>
    <dgm:pt modelId="{7DA4B0A3-37A7-4B54-9254-028B72626902}">
      <dgm:prSet phldrT="[Texte]"/>
      <dgm:spPr/>
      <dgm:t>
        <a:bodyPr/>
        <a:lstStyle/>
        <a:p>
          <a:pPr algn="l"/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Développement d’un potentiel et de savoir-faire</a:t>
          </a:r>
          <a:endParaRPr lang="fr-FR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gm:t>
    </dgm:pt>
    <dgm:pt modelId="{EA051B6A-DAF3-4062-B70B-46C61EC452CB}" type="parTrans" cxnId="{3BB03D48-C3BC-476D-8151-A9C0B508FFCA}">
      <dgm:prSet/>
      <dgm:spPr/>
      <dgm:t>
        <a:bodyPr/>
        <a:lstStyle/>
        <a:p>
          <a:endParaRPr lang="fr-FR"/>
        </a:p>
      </dgm:t>
    </dgm:pt>
    <dgm:pt modelId="{B7525B27-523F-4AD8-98D4-7523FA6B9DC9}" type="sibTrans" cxnId="{3BB03D48-C3BC-476D-8151-A9C0B508FFCA}">
      <dgm:prSet/>
      <dgm:spPr/>
      <dgm:t>
        <a:bodyPr/>
        <a:lstStyle/>
        <a:p>
          <a:endParaRPr lang="fr-FR"/>
        </a:p>
      </dgm:t>
    </dgm:pt>
    <dgm:pt modelId="{992D0A6A-D4A9-45C9-B4D2-59E7F72997F6}">
      <dgm:prSet phldrT="[Texte]"/>
      <dgm:spPr/>
      <dgm:t>
        <a:bodyPr/>
        <a:lstStyle/>
        <a:p>
          <a:pPr algn="just"/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Résultats concrets et mesurables</a:t>
          </a:r>
          <a:endParaRPr lang="fr-FR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gm:t>
    </dgm:pt>
    <dgm:pt modelId="{EB7610B4-14A1-4382-9CB1-6970F09EE3D3}" type="parTrans" cxnId="{29B19A22-9928-4006-A522-BE3CC60E0ED7}">
      <dgm:prSet/>
      <dgm:spPr/>
      <dgm:t>
        <a:bodyPr/>
        <a:lstStyle/>
        <a:p>
          <a:endParaRPr lang="fr-FR"/>
        </a:p>
      </dgm:t>
    </dgm:pt>
    <dgm:pt modelId="{07FD889E-2DFD-4E01-8103-A77A8FB952B3}" type="sibTrans" cxnId="{29B19A22-9928-4006-A522-BE3CC60E0ED7}">
      <dgm:prSet/>
      <dgm:spPr/>
      <dgm:t>
        <a:bodyPr/>
        <a:lstStyle/>
        <a:p>
          <a:endParaRPr lang="fr-FR"/>
        </a:p>
      </dgm:t>
    </dgm:pt>
    <dgm:pt modelId="{B6AAABFA-C974-4479-8CDB-EC04FA73AABB}" type="pres">
      <dgm:prSet presAssocID="{86B25B42-C66C-4685-9C91-4501DF671223}" presName="arrowDiagram" presStyleCnt="0">
        <dgm:presLayoutVars>
          <dgm:chMax val="5"/>
          <dgm:dir/>
          <dgm:resizeHandles val="exact"/>
        </dgm:presLayoutVars>
      </dgm:prSet>
      <dgm:spPr/>
    </dgm:pt>
    <dgm:pt modelId="{10B2DAC8-6266-4166-9F9D-2D53F15AEE08}" type="pres">
      <dgm:prSet presAssocID="{86B25B42-C66C-4685-9C91-4501DF671223}" presName="arrow" presStyleLbl="bgShp" presStyleIdx="0" presStyleCnt="1"/>
      <dgm:spPr/>
    </dgm:pt>
    <dgm:pt modelId="{8E45E774-36C8-4DB7-B2F8-C995679E2666}" type="pres">
      <dgm:prSet presAssocID="{86B25B42-C66C-4685-9C91-4501DF671223}" presName="arrowDiagram3" presStyleCnt="0"/>
      <dgm:spPr/>
    </dgm:pt>
    <dgm:pt modelId="{C46FD433-4715-40FC-BC79-841E247F08C8}" type="pres">
      <dgm:prSet presAssocID="{DBB8B2F5-B64B-4E5A-9766-6D96B893FC0D}" presName="bullet3a" presStyleLbl="node1" presStyleIdx="0" presStyleCnt="3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</dgm:pt>
    <dgm:pt modelId="{A7D9331B-9E7C-4EAC-831D-C0CD44D02E25}" type="pres">
      <dgm:prSet presAssocID="{DBB8B2F5-B64B-4E5A-9766-6D96B893FC0D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0B83EAD-A5DA-47BD-AAE2-07A5FB362E49}" type="pres">
      <dgm:prSet presAssocID="{7DA4B0A3-37A7-4B54-9254-028B72626902}" presName="bullet3b" presStyleLbl="node1" presStyleIdx="1" presStyleCnt="3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</dgm:pt>
    <dgm:pt modelId="{3E0D44C1-6026-4C45-9CFD-CF6EF7AF1B61}" type="pres">
      <dgm:prSet presAssocID="{7DA4B0A3-37A7-4B54-9254-028B72626902}" presName="textBox3b" presStyleLbl="revTx" presStyleIdx="1" presStyleCnt="3" custScaleY="27935" custLinFactNeighborX="-1265" custLinFactNeighborY="-2412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27837E5-7EC8-42F0-A12D-71B2108DD41B}" type="pres">
      <dgm:prSet presAssocID="{992D0A6A-D4A9-45C9-B4D2-59E7F72997F6}" presName="bullet3c" presStyleLbl="node1" presStyleIdx="2" presStyleCnt="3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</dgm:pt>
    <dgm:pt modelId="{BEFD3785-50BC-4655-AFAC-3FE16FC42006}" type="pres">
      <dgm:prSet presAssocID="{992D0A6A-D4A9-45C9-B4D2-59E7F72997F6}" presName="textBox3c" presStyleLbl="revTx" presStyleIdx="2" presStyleCnt="3" custAng="10800000" custFlipVert="1" custScaleX="108544" custScaleY="14023" custLinFactNeighborX="-8941" custLinFactNeighborY="-3318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9D70EAA-83D3-4ABE-8F6F-3EF54496B1D1}" type="presOf" srcId="{992D0A6A-D4A9-45C9-B4D2-59E7F72997F6}" destId="{BEFD3785-50BC-4655-AFAC-3FE16FC42006}" srcOrd="0" destOrd="0" presId="urn:microsoft.com/office/officeart/2005/8/layout/arrow2"/>
    <dgm:cxn modelId="{CB9E9ADC-9E1E-4E58-B31E-B21EECC76E35}" type="presOf" srcId="{7DA4B0A3-37A7-4B54-9254-028B72626902}" destId="{3E0D44C1-6026-4C45-9CFD-CF6EF7AF1B61}" srcOrd="0" destOrd="0" presId="urn:microsoft.com/office/officeart/2005/8/layout/arrow2"/>
    <dgm:cxn modelId="{3BB03D48-C3BC-476D-8151-A9C0B508FFCA}" srcId="{86B25B42-C66C-4685-9C91-4501DF671223}" destId="{7DA4B0A3-37A7-4B54-9254-028B72626902}" srcOrd="1" destOrd="0" parTransId="{EA051B6A-DAF3-4062-B70B-46C61EC452CB}" sibTransId="{B7525B27-523F-4AD8-98D4-7523FA6B9DC9}"/>
    <dgm:cxn modelId="{67827A61-94C5-4F4D-B29D-95DA3326DA35}" type="presOf" srcId="{86B25B42-C66C-4685-9C91-4501DF671223}" destId="{B6AAABFA-C974-4479-8CDB-EC04FA73AABB}" srcOrd="0" destOrd="0" presId="urn:microsoft.com/office/officeart/2005/8/layout/arrow2"/>
    <dgm:cxn modelId="{29B19A22-9928-4006-A522-BE3CC60E0ED7}" srcId="{86B25B42-C66C-4685-9C91-4501DF671223}" destId="{992D0A6A-D4A9-45C9-B4D2-59E7F72997F6}" srcOrd="2" destOrd="0" parTransId="{EB7610B4-14A1-4382-9CB1-6970F09EE3D3}" sibTransId="{07FD889E-2DFD-4E01-8103-A77A8FB952B3}"/>
    <dgm:cxn modelId="{126A765F-8EAC-47ED-8CC9-3EB573431073}" srcId="{86B25B42-C66C-4685-9C91-4501DF671223}" destId="{DBB8B2F5-B64B-4E5A-9766-6D96B893FC0D}" srcOrd="0" destOrd="0" parTransId="{CF581AA2-A7C7-48D7-A4C0-A21BC52A4E65}" sibTransId="{198B0BC0-EB94-4099-9588-BDB47B21C7E4}"/>
    <dgm:cxn modelId="{33381572-58B2-48C0-8DC4-35170CB08DC0}" type="presOf" srcId="{DBB8B2F5-B64B-4E5A-9766-6D96B893FC0D}" destId="{A7D9331B-9E7C-4EAC-831D-C0CD44D02E25}" srcOrd="0" destOrd="0" presId="urn:microsoft.com/office/officeart/2005/8/layout/arrow2"/>
    <dgm:cxn modelId="{ED03ECD8-89CB-4AB3-BEDA-8DC3F491A936}" type="presParOf" srcId="{B6AAABFA-C974-4479-8CDB-EC04FA73AABB}" destId="{10B2DAC8-6266-4166-9F9D-2D53F15AEE08}" srcOrd="0" destOrd="0" presId="urn:microsoft.com/office/officeart/2005/8/layout/arrow2"/>
    <dgm:cxn modelId="{4CE320DF-CCE9-4228-BDA6-8BBA1443052E}" type="presParOf" srcId="{B6AAABFA-C974-4479-8CDB-EC04FA73AABB}" destId="{8E45E774-36C8-4DB7-B2F8-C995679E2666}" srcOrd="1" destOrd="0" presId="urn:microsoft.com/office/officeart/2005/8/layout/arrow2"/>
    <dgm:cxn modelId="{17A2E355-B336-40B2-B123-68F62A985B3D}" type="presParOf" srcId="{8E45E774-36C8-4DB7-B2F8-C995679E2666}" destId="{C46FD433-4715-40FC-BC79-841E247F08C8}" srcOrd="0" destOrd="0" presId="urn:microsoft.com/office/officeart/2005/8/layout/arrow2"/>
    <dgm:cxn modelId="{2C9B42DB-55DF-4E20-94A8-10D71FE5E3AD}" type="presParOf" srcId="{8E45E774-36C8-4DB7-B2F8-C995679E2666}" destId="{A7D9331B-9E7C-4EAC-831D-C0CD44D02E25}" srcOrd="1" destOrd="0" presId="urn:microsoft.com/office/officeart/2005/8/layout/arrow2"/>
    <dgm:cxn modelId="{55B7F1D1-F441-4FC5-AE93-556C61822130}" type="presParOf" srcId="{8E45E774-36C8-4DB7-B2F8-C995679E2666}" destId="{E0B83EAD-A5DA-47BD-AAE2-07A5FB362E49}" srcOrd="2" destOrd="0" presId="urn:microsoft.com/office/officeart/2005/8/layout/arrow2"/>
    <dgm:cxn modelId="{28BD134B-2663-4297-8DB2-8F4DA0352771}" type="presParOf" srcId="{8E45E774-36C8-4DB7-B2F8-C995679E2666}" destId="{3E0D44C1-6026-4C45-9CFD-CF6EF7AF1B61}" srcOrd="3" destOrd="0" presId="urn:microsoft.com/office/officeart/2005/8/layout/arrow2"/>
    <dgm:cxn modelId="{8134C6FB-FD4D-4451-B157-556EBD981DD6}" type="presParOf" srcId="{8E45E774-36C8-4DB7-B2F8-C995679E2666}" destId="{227837E5-7EC8-42F0-A12D-71B2108DD41B}" srcOrd="4" destOrd="0" presId="urn:microsoft.com/office/officeart/2005/8/layout/arrow2"/>
    <dgm:cxn modelId="{ED3CF512-4E7D-4B2D-A700-AB1E99604AF8}" type="presParOf" srcId="{8E45E774-36C8-4DB7-B2F8-C995679E2666}" destId="{BEFD3785-50BC-4655-AFAC-3FE16FC42006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C822A513-0190-44C3-861C-FC406850A9F9}" type="presOf" srcId="{CC0749E6-31F7-4C9D-B494-AD9D61032896}" destId="{B22BB23F-E05B-4013-81BD-85F13AFDE6D1}" srcOrd="0" destOrd="0" presId="urn:microsoft.com/office/officeart/2005/8/layout/process2"/>
    <dgm:cxn modelId="{CECEC1E6-C24C-41C8-8EBF-27AEA4B53656}" type="presOf" srcId="{78DC5BE3-9B5F-4CD7-B0EC-6566CDEFFE79}" destId="{28AF62BE-D6B0-493F-B896-8629ECF24A49}" srcOrd="0" destOrd="0" presId="urn:microsoft.com/office/officeart/2005/8/layout/process2"/>
    <dgm:cxn modelId="{08A1DF7B-77E3-460F-AC76-D1AC1BBCBEAB}" type="presOf" srcId="{FDFF01D2-F3CC-4D2C-A015-471198A0D6C7}" destId="{98E1D376-F99A-44C4-8AC9-E145DB47BC54}" srcOrd="1" destOrd="0" presId="urn:microsoft.com/office/officeart/2005/8/layout/process2"/>
    <dgm:cxn modelId="{F2AC10B2-1638-4431-A1A3-C14260705C0F}" type="presOf" srcId="{E5A0750E-9076-4558-8E66-C53A1107536F}" destId="{A84114DE-6569-47D6-AD13-3BDCDD5C3236}" srcOrd="0" destOrd="0" presId="urn:microsoft.com/office/officeart/2005/8/layout/process2"/>
    <dgm:cxn modelId="{1052090C-2798-43E4-8C91-DAD383E7A517}" type="presOf" srcId="{F6B57F0F-2727-4614-A7FD-35FD6FCAF6E6}" destId="{219009EE-9B51-4162-9EBA-7B83AECF4795}" srcOrd="1" destOrd="0" presId="urn:microsoft.com/office/officeart/2005/8/layout/process2"/>
    <dgm:cxn modelId="{70B2B75E-7765-47F5-9FEC-80F21DC6B413}" type="presOf" srcId="{E5A0750E-9076-4558-8E66-C53A1107536F}" destId="{EB198668-65DF-4501-B2F3-20013C293CC4}" srcOrd="1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304C4B62-A0F8-4097-A8FF-82FFB5982129}" type="presOf" srcId="{550E20B0-80A8-42F2-BFE2-A3961B05A02A}" destId="{3D35B79B-418E-472B-B684-1ACC0A6CC011}" srcOrd="0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C1B7CA29-C785-4C29-AEA1-025FEFBC2FF1}" type="presOf" srcId="{2AE408E0-1AF5-4F80-BFA2-F6C645A283D4}" destId="{5351E9FE-A558-447E-A302-DBACA0DF592D}" srcOrd="1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2B9D2DF3-7721-4E88-8D01-2CCE3D6735F6}" type="presOf" srcId="{CC0749E6-31F7-4C9D-B494-AD9D61032896}" destId="{3C47B04F-CBBD-4ADD-A6BE-15EEB39DBB7F}" srcOrd="1" destOrd="0" presId="urn:microsoft.com/office/officeart/2005/8/layout/process2"/>
    <dgm:cxn modelId="{AB6186F8-EA08-4EE0-9A06-3DF39B18171B}" type="presOf" srcId="{E5D2D304-F13F-4199-9163-2AD87DD91923}" destId="{85F2BDF6-F9F8-41DC-9874-6F84B6C7034A}" srcOrd="0" destOrd="0" presId="urn:microsoft.com/office/officeart/2005/8/layout/process2"/>
    <dgm:cxn modelId="{48C77138-73FA-4997-8E1F-DC6CAE1CFECE}" type="presOf" srcId="{2CEC1776-9DE4-48EC-8B3A-CE30A34C08A8}" destId="{44B7898F-5A22-4319-8D85-0B72C2EF45F9}" srcOrd="0" destOrd="0" presId="urn:microsoft.com/office/officeart/2005/8/layout/process2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6E0A5962-9BBF-4AB8-8E32-8EE62D2E2671}" type="presOf" srcId="{294402DA-D638-4BA1-B669-C7A658DFF56C}" destId="{2E1F2D2C-88F0-4727-80FE-ADD5804EF2B7}" srcOrd="0" destOrd="0" presId="urn:microsoft.com/office/officeart/2005/8/layout/process2"/>
    <dgm:cxn modelId="{0546FA51-6D32-4781-93EB-6A81C868724A}" type="presOf" srcId="{65ADC171-D76B-4DA2-9796-3C9108575BCF}" destId="{4FD2053B-5A77-4D34-8C66-D50B8724D81E}" srcOrd="0" destOrd="0" presId="urn:microsoft.com/office/officeart/2005/8/layout/process2"/>
    <dgm:cxn modelId="{C9CE02FA-958B-43F6-B746-0761465123B8}" type="presOf" srcId="{EAE0BE0B-47C3-4CD6-817F-ECFB5232CEF3}" destId="{492AF956-F719-422D-9244-7729846A0ADF}" srcOrd="0" destOrd="0" presId="urn:microsoft.com/office/officeart/2005/8/layout/process2"/>
    <dgm:cxn modelId="{84408C5E-998E-4B9E-98D3-1DB0A49B0646}" type="presOf" srcId="{9EFE1160-C5B7-455D-AE24-A575AB41076E}" destId="{D49DFB90-1383-44F2-BB66-0887BCA7C4E5}" srcOrd="0" destOrd="0" presId="urn:microsoft.com/office/officeart/2005/8/layout/process2"/>
    <dgm:cxn modelId="{DB751C83-888C-496D-B152-52A862EDDCB5}" type="presOf" srcId="{F6B57F0F-2727-4614-A7FD-35FD6FCAF6E6}" destId="{6C27A5CC-5F13-4059-9AE7-C0A63DD7EC7E}" srcOrd="0" destOrd="0" presId="urn:microsoft.com/office/officeart/2005/8/layout/process2"/>
    <dgm:cxn modelId="{87E4BCCD-C752-4AE9-9643-5F1762289F0E}" type="presOf" srcId="{1AB6682E-C77A-48CC-818B-2A7EC3934804}" destId="{76E90E60-5B19-4029-8BE8-12C0FAC09B4F}" srcOrd="0" destOrd="0" presId="urn:microsoft.com/office/officeart/2005/8/layout/process2"/>
    <dgm:cxn modelId="{C1BC226A-12DA-4D78-A317-B77DFE541BB0}" type="presOf" srcId="{FDFF01D2-F3CC-4D2C-A015-471198A0D6C7}" destId="{0DFF998B-AB70-42CB-B86E-F2EDC6F014F8}" srcOrd="0" destOrd="0" presId="urn:microsoft.com/office/officeart/2005/8/layout/process2"/>
    <dgm:cxn modelId="{6D1AFC00-E408-4094-831A-8C9D6B0A5259}" type="presOf" srcId="{F7237CAD-458A-4DEE-BE25-3568BFF65879}" destId="{6C1BCA69-22CF-4F05-B914-357F6B8C02D5}" srcOrd="0" destOrd="0" presId="urn:microsoft.com/office/officeart/2005/8/layout/process2"/>
    <dgm:cxn modelId="{9A959F1A-A3CE-45A1-9564-6D18054053F2}" type="presOf" srcId="{F7237CAD-458A-4DEE-BE25-3568BFF65879}" destId="{ADF04F16-ABFC-4DEA-9719-FE2EDEC087DE}" srcOrd="1" destOrd="0" presId="urn:microsoft.com/office/officeart/2005/8/layout/process2"/>
    <dgm:cxn modelId="{F40BB1C8-2AA5-4DFB-A551-1A4AD53D1000}" type="presOf" srcId="{9C241770-5D57-447B-B2C6-700BC348595B}" destId="{7EF63230-6818-417B-9423-2B2909FB868A}" srcOrd="0" destOrd="0" presId="urn:microsoft.com/office/officeart/2005/8/layout/process2"/>
    <dgm:cxn modelId="{A2363C3F-9232-4DF3-A8C0-BB79FCB6B645}" type="presOf" srcId="{2AE408E0-1AF5-4F80-BFA2-F6C645A283D4}" destId="{F9790B67-A8A7-47D4-8E75-D889EA350148}" srcOrd="0" destOrd="0" presId="urn:microsoft.com/office/officeart/2005/8/layout/process2"/>
    <dgm:cxn modelId="{8C8D6ECE-17F0-4D0B-817C-9B0E7556284A}" type="presOf" srcId="{2A49C2D7-12D0-4518-BC98-A3272820B530}" destId="{564A9C2A-4DC0-4B71-8BDC-7615D299EDCD}" srcOrd="0" destOrd="0" presId="urn:microsoft.com/office/officeart/2005/8/layout/process2"/>
    <dgm:cxn modelId="{A13A92B0-A710-48C5-91C9-D534E7D6D7B7}" type="presOf" srcId="{78DC5BE3-9B5F-4CD7-B0EC-6566CDEFFE79}" destId="{D1E38222-CE22-4A67-AEEE-B8A0996FDF5D}" srcOrd="1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B5A340AF-5F28-4C7B-B406-D33B4453B85B}" type="presOf" srcId="{2CEC1776-9DE4-48EC-8B3A-CE30A34C08A8}" destId="{408A314B-8D14-452B-BB30-A6CDFBC7604D}" srcOrd="1" destOrd="0" presId="urn:microsoft.com/office/officeart/2005/8/layout/process2"/>
    <dgm:cxn modelId="{092FCC94-B9A9-49C8-A934-1303D9214F55}" type="presOf" srcId="{A1FA66E9-6B47-43A9-A691-995B4B7D915F}" destId="{CD5751FF-25F1-44FE-B9E8-824DB4F14981}" srcOrd="0" destOrd="0" presId="urn:microsoft.com/office/officeart/2005/8/layout/process2"/>
    <dgm:cxn modelId="{50830B0F-C4BA-4FF2-91A9-4EA4B5D610D7}" type="presParOf" srcId="{492AF956-F719-422D-9244-7729846A0ADF}" destId="{85F2BDF6-F9F8-41DC-9874-6F84B6C7034A}" srcOrd="0" destOrd="0" presId="urn:microsoft.com/office/officeart/2005/8/layout/process2"/>
    <dgm:cxn modelId="{02B95A08-4417-4DBB-8BC3-759FB29470B9}" type="presParOf" srcId="{492AF956-F719-422D-9244-7729846A0ADF}" destId="{44B7898F-5A22-4319-8D85-0B72C2EF45F9}" srcOrd="1" destOrd="0" presId="urn:microsoft.com/office/officeart/2005/8/layout/process2"/>
    <dgm:cxn modelId="{EC944862-8E2F-4B85-A0C0-91C205FFF938}" type="presParOf" srcId="{44B7898F-5A22-4319-8D85-0B72C2EF45F9}" destId="{408A314B-8D14-452B-BB30-A6CDFBC7604D}" srcOrd="0" destOrd="0" presId="urn:microsoft.com/office/officeart/2005/8/layout/process2"/>
    <dgm:cxn modelId="{2D877733-EF98-4E26-8401-D2174167AF77}" type="presParOf" srcId="{492AF956-F719-422D-9244-7729846A0ADF}" destId="{3D35B79B-418E-472B-B684-1ACC0A6CC011}" srcOrd="2" destOrd="0" presId="urn:microsoft.com/office/officeart/2005/8/layout/process2"/>
    <dgm:cxn modelId="{3841EA7B-9FFB-4AD8-9F08-59E23DB52D91}" type="presParOf" srcId="{492AF956-F719-422D-9244-7729846A0ADF}" destId="{6C27A5CC-5F13-4059-9AE7-C0A63DD7EC7E}" srcOrd="3" destOrd="0" presId="urn:microsoft.com/office/officeart/2005/8/layout/process2"/>
    <dgm:cxn modelId="{696B3115-3371-4C75-A23B-72A064612C13}" type="presParOf" srcId="{6C27A5CC-5F13-4059-9AE7-C0A63DD7EC7E}" destId="{219009EE-9B51-4162-9EBA-7B83AECF4795}" srcOrd="0" destOrd="0" presId="urn:microsoft.com/office/officeart/2005/8/layout/process2"/>
    <dgm:cxn modelId="{5B2B321C-A1ED-4351-B23D-9A72BEB98E1B}" type="presParOf" srcId="{492AF956-F719-422D-9244-7729846A0ADF}" destId="{4FD2053B-5A77-4D34-8C66-D50B8724D81E}" srcOrd="4" destOrd="0" presId="urn:microsoft.com/office/officeart/2005/8/layout/process2"/>
    <dgm:cxn modelId="{C67EB683-C9C3-4AF0-98B3-562063D04B59}" type="presParOf" srcId="{492AF956-F719-422D-9244-7729846A0ADF}" destId="{F9790B67-A8A7-47D4-8E75-D889EA350148}" srcOrd="5" destOrd="0" presId="urn:microsoft.com/office/officeart/2005/8/layout/process2"/>
    <dgm:cxn modelId="{816D969F-8CC7-4AE7-8869-A758C7329D4B}" type="presParOf" srcId="{F9790B67-A8A7-47D4-8E75-D889EA350148}" destId="{5351E9FE-A558-447E-A302-DBACA0DF592D}" srcOrd="0" destOrd="0" presId="urn:microsoft.com/office/officeart/2005/8/layout/process2"/>
    <dgm:cxn modelId="{DBF0A1C7-854F-49F1-89CA-BE40DC810B82}" type="presParOf" srcId="{492AF956-F719-422D-9244-7729846A0ADF}" destId="{7EF63230-6818-417B-9423-2B2909FB868A}" srcOrd="6" destOrd="0" presId="urn:microsoft.com/office/officeart/2005/8/layout/process2"/>
    <dgm:cxn modelId="{3F596D66-4B8F-4688-BD8B-8E3061423A4E}" type="presParOf" srcId="{492AF956-F719-422D-9244-7729846A0ADF}" destId="{6C1BCA69-22CF-4F05-B914-357F6B8C02D5}" srcOrd="7" destOrd="0" presId="urn:microsoft.com/office/officeart/2005/8/layout/process2"/>
    <dgm:cxn modelId="{00B017AB-067B-4DCF-B1B8-9B6B348085F1}" type="presParOf" srcId="{6C1BCA69-22CF-4F05-B914-357F6B8C02D5}" destId="{ADF04F16-ABFC-4DEA-9719-FE2EDEC087DE}" srcOrd="0" destOrd="0" presId="urn:microsoft.com/office/officeart/2005/8/layout/process2"/>
    <dgm:cxn modelId="{194C306B-8080-467D-B5D7-0311CD2F4D3D}" type="presParOf" srcId="{492AF956-F719-422D-9244-7729846A0ADF}" destId="{564A9C2A-4DC0-4B71-8BDC-7615D299EDCD}" srcOrd="8" destOrd="0" presId="urn:microsoft.com/office/officeart/2005/8/layout/process2"/>
    <dgm:cxn modelId="{CFEC48FD-8E2C-4950-8626-D56B23BC0F92}" type="presParOf" srcId="{492AF956-F719-422D-9244-7729846A0ADF}" destId="{0DFF998B-AB70-42CB-B86E-F2EDC6F014F8}" srcOrd="9" destOrd="0" presId="urn:microsoft.com/office/officeart/2005/8/layout/process2"/>
    <dgm:cxn modelId="{57EDDFF7-7760-48D8-88C2-A07CD3430FB6}" type="presParOf" srcId="{0DFF998B-AB70-42CB-B86E-F2EDC6F014F8}" destId="{98E1D376-F99A-44C4-8AC9-E145DB47BC54}" srcOrd="0" destOrd="0" presId="urn:microsoft.com/office/officeart/2005/8/layout/process2"/>
    <dgm:cxn modelId="{81CA3F77-E79B-4CC2-A20E-AACB7DD38196}" type="presParOf" srcId="{492AF956-F719-422D-9244-7729846A0ADF}" destId="{D49DFB90-1383-44F2-BB66-0887BCA7C4E5}" srcOrd="10" destOrd="0" presId="urn:microsoft.com/office/officeart/2005/8/layout/process2"/>
    <dgm:cxn modelId="{B1AE28DF-388E-43D0-A603-C91599C0682C}" type="presParOf" srcId="{492AF956-F719-422D-9244-7729846A0ADF}" destId="{B22BB23F-E05B-4013-81BD-85F13AFDE6D1}" srcOrd="11" destOrd="0" presId="urn:microsoft.com/office/officeart/2005/8/layout/process2"/>
    <dgm:cxn modelId="{01C93902-6928-4E4A-A526-5CE52E63BC6F}" type="presParOf" srcId="{B22BB23F-E05B-4013-81BD-85F13AFDE6D1}" destId="{3C47B04F-CBBD-4ADD-A6BE-15EEB39DBB7F}" srcOrd="0" destOrd="0" presId="urn:microsoft.com/office/officeart/2005/8/layout/process2"/>
    <dgm:cxn modelId="{33CEC238-13AE-4A7C-9FA7-5C8AE9569F1C}" type="presParOf" srcId="{492AF956-F719-422D-9244-7729846A0ADF}" destId="{CD5751FF-25F1-44FE-B9E8-824DB4F14981}" srcOrd="12" destOrd="0" presId="urn:microsoft.com/office/officeart/2005/8/layout/process2"/>
    <dgm:cxn modelId="{8BB86918-4C27-46DD-92EA-B22521E806D1}" type="presParOf" srcId="{492AF956-F719-422D-9244-7729846A0ADF}" destId="{28AF62BE-D6B0-493F-B896-8629ECF24A49}" srcOrd="13" destOrd="0" presId="urn:microsoft.com/office/officeart/2005/8/layout/process2"/>
    <dgm:cxn modelId="{2F6A7B78-1D16-44B1-947C-B7E4E1539433}" type="presParOf" srcId="{28AF62BE-D6B0-493F-B896-8629ECF24A49}" destId="{D1E38222-CE22-4A67-AEEE-B8A0996FDF5D}" srcOrd="0" destOrd="0" presId="urn:microsoft.com/office/officeart/2005/8/layout/process2"/>
    <dgm:cxn modelId="{9747010E-96AB-4E77-8182-132F5883C7D0}" type="presParOf" srcId="{492AF956-F719-422D-9244-7729846A0ADF}" destId="{76E90E60-5B19-4029-8BE8-12C0FAC09B4F}" srcOrd="14" destOrd="0" presId="urn:microsoft.com/office/officeart/2005/8/layout/process2"/>
    <dgm:cxn modelId="{0F17CCDD-1D05-46A5-90FB-F8E3E9C41C97}" type="presParOf" srcId="{492AF956-F719-422D-9244-7729846A0ADF}" destId="{A84114DE-6569-47D6-AD13-3BDCDD5C3236}" srcOrd="15" destOrd="0" presId="urn:microsoft.com/office/officeart/2005/8/layout/process2"/>
    <dgm:cxn modelId="{4DEAB57E-5A67-4C2D-96E1-86B8A63466CF}" type="presParOf" srcId="{A84114DE-6569-47D6-AD13-3BDCDD5C3236}" destId="{EB198668-65DF-4501-B2F3-20013C293CC4}" srcOrd="0" destOrd="0" presId="urn:microsoft.com/office/officeart/2005/8/layout/process2"/>
    <dgm:cxn modelId="{6757A368-D601-4CF2-9661-D4932BBC95A2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9E9DA29-923D-4D2D-BF34-56FB0D861D78}" type="doc">
      <dgm:prSet loTypeId="urn:microsoft.com/office/officeart/2005/8/layout/hProcess9" loCatId="process" qsTypeId="urn:microsoft.com/office/officeart/2005/8/quickstyle/simple5" qsCatId="simple" csTypeId="urn:microsoft.com/office/officeart/2005/8/colors/accent3_3" csCatId="accent3" phldr="1"/>
      <dgm:spPr/>
      <dgm:t>
        <a:bodyPr/>
        <a:lstStyle/>
        <a:p>
          <a:endParaRPr lang="fr-FR"/>
        </a:p>
      </dgm:t>
    </dgm:pt>
    <dgm:pt modelId="{FD1787BB-F015-4D58-9962-1E4734691E31}">
      <dgm:prSet phldrT="[Texte]"/>
      <dgm:spPr>
        <a:solidFill>
          <a:schemeClr val="bg1">
            <a:lumMod val="95000"/>
          </a:schemeClr>
        </a:solidFill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dgm:spPr>
      <dgm:t>
        <a:bodyPr/>
        <a:lstStyle/>
        <a:p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La définition des objectifs</a:t>
          </a:r>
          <a:endParaRPr lang="fr-FR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3C7F8901-CFEC-49BC-8892-8E4B36883D02}" type="parTrans" cxnId="{940C98FF-6E3F-4501-9924-A1B9B4826273}">
      <dgm:prSet/>
      <dgm:spPr/>
      <dgm:t>
        <a:bodyPr/>
        <a:lstStyle/>
        <a:p>
          <a:endParaRPr lang="fr-FR"/>
        </a:p>
      </dgm:t>
    </dgm:pt>
    <dgm:pt modelId="{598D7715-5C12-4E16-9460-515AE80A49CD}" type="sibTrans" cxnId="{940C98FF-6E3F-4501-9924-A1B9B4826273}">
      <dgm:prSet/>
      <dgm:spPr/>
      <dgm:t>
        <a:bodyPr/>
        <a:lstStyle/>
        <a:p>
          <a:endParaRPr lang="fr-FR"/>
        </a:p>
      </dgm:t>
    </dgm:pt>
    <dgm:pt modelId="{48BC3201-B37E-4489-8595-6A996048659B}">
      <dgm:prSet/>
      <dgm:spPr>
        <a:solidFill>
          <a:schemeClr val="bg1">
            <a:lumMod val="95000"/>
          </a:schemeClr>
        </a:solidFill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dgm:spPr>
      <dgm:t>
        <a:bodyPr/>
        <a:lstStyle/>
        <a:p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L’élaboration du bilan</a:t>
          </a:r>
          <a:endParaRPr lang="fr-FR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82F9FFDC-7F62-4EF0-8CAE-18CFE2702527}" type="parTrans" cxnId="{B5749D05-0566-4E2F-8B69-FF98DDB46F1B}">
      <dgm:prSet/>
      <dgm:spPr/>
      <dgm:t>
        <a:bodyPr/>
        <a:lstStyle/>
        <a:p>
          <a:endParaRPr lang="fr-FR"/>
        </a:p>
      </dgm:t>
    </dgm:pt>
    <dgm:pt modelId="{44716DED-D6A5-4134-B9A4-D0C7237F4504}" type="sibTrans" cxnId="{B5749D05-0566-4E2F-8B69-FF98DDB46F1B}">
      <dgm:prSet/>
      <dgm:spPr/>
      <dgm:t>
        <a:bodyPr/>
        <a:lstStyle/>
        <a:p>
          <a:endParaRPr lang="fr-FR"/>
        </a:p>
      </dgm:t>
    </dgm:pt>
    <dgm:pt modelId="{F5EFDFC2-1139-47AB-AA3E-EFCE99359616}">
      <dgm:prSet/>
      <dgm:spPr>
        <a:solidFill>
          <a:schemeClr val="bg1">
            <a:lumMod val="95000"/>
          </a:schemeClr>
        </a:solidFill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dgm:spPr>
      <dgm:t>
        <a:bodyPr/>
        <a:lstStyle/>
        <a:p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Mise en place du plan d’action</a:t>
          </a:r>
          <a:endParaRPr lang="fr-FR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93B04D7A-6CCA-4D3B-938A-46848F2FF590}" type="parTrans" cxnId="{C670F127-FB4B-43E9-B2AE-AB6821175267}">
      <dgm:prSet/>
      <dgm:spPr/>
      <dgm:t>
        <a:bodyPr/>
        <a:lstStyle/>
        <a:p>
          <a:endParaRPr lang="fr-FR"/>
        </a:p>
      </dgm:t>
    </dgm:pt>
    <dgm:pt modelId="{E6B928BB-E438-49E6-83D5-390B53BBF057}" type="sibTrans" cxnId="{C670F127-FB4B-43E9-B2AE-AB6821175267}">
      <dgm:prSet/>
      <dgm:spPr/>
      <dgm:t>
        <a:bodyPr/>
        <a:lstStyle/>
        <a:p>
          <a:endParaRPr lang="fr-FR"/>
        </a:p>
      </dgm:t>
    </dgm:pt>
    <dgm:pt modelId="{5687EA6D-683B-4CED-ADA6-449C1A45943B}">
      <dgm:prSet phldrT="[Texte]"/>
      <dgm:spPr>
        <a:solidFill>
          <a:schemeClr val="bg1">
            <a:lumMod val="95000"/>
          </a:schemeClr>
        </a:solidFill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dgm:spPr>
      <dgm:t>
        <a:bodyPr/>
        <a:lstStyle/>
        <a:p>
          <a:pPr algn="ctr"/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L’entretien préliminaire avec  le collaborateur / La </a:t>
          </a:r>
          <a:r>
            <a:rPr lang="fr-FR" dirty="0" err="1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déconfusion</a:t>
          </a:r>
          <a:endParaRPr lang="fr-FR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6A268511-7783-4257-B156-2C95B6E7D5CC}" type="sibTrans" cxnId="{59E008F7-3D72-4E72-8D2B-9925B608D6D2}">
      <dgm:prSet/>
      <dgm:spPr/>
      <dgm:t>
        <a:bodyPr/>
        <a:lstStyle/>
        <a:p>
          <a:endParaRPr lang="fr-FR"/>
        </a:p>
      </dgm:t>
    </dgm:pt>
    <dgm:pt modelId="{A2A9F284-28F2-4059-B30A-7558B19DA847}" type="parTrans" cxnId="{59E008F7-3D72-4E72-8D2B-9925B608D6D2}">
      <dgm:prSet/>
      <dgm:spPr/>
      <dgm:t>
        <a:bodyPr/>
        <a:lstStyle/>
        <a:p>
          <a:endParaRPr lang="fr-FR"/>
        </a:p>
      </dgm:t>
    </dgm:pt>
    <dgm:pt modelId="{B7309FFB-DB50-4940-AEAE-7C8570C7791B}" type="pres">
      <dgm:prSet presAssocID="{69E9DA29-923D-4D2D-BF34-56FB0D861D78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6033A584-987D-4BA9-980E-49FC27EAA08F}" type="pres">
      <dgm:prSet presAssocID="{69E9DA29-923D-4D2D-BF34-56FB0D861D78}" presName="arrow" presStyleLbl="bgShp" presStyleIdx="0" presStyleCnt="1" custScaleX="113094" custLinFactNeighborX="4321" custLinFactNeighborY="-1818"/>
      <dgm:spPr/>
      <dgm:t>
        <a:bodyPr/>
        <a:lstStyle/>
        <a:p>
          <a:endParaRPr lang="fr-FR"/>
        </a:p>
      </dgm:t>
    </dgm:pt>
    <dgm:pt modelId="{FC0EC45A-3225-4434-8655-321BB660F878}" type="pres">
      <dgm:prSet presAssocID="{69E9DA29-923D-4D2D-BF34-56FB0D861D78}" presName="linearProcess" presStyleCnt="0"/>
      <dgm:spPr/>
      <dgm:t>
        <a:bodyPr/>
        <a:lstStyle/>
        <a:p>
          <a:endParaRPr lang="fr-FR"/>
        </a:p>
      </dgm:t>
    </dgm:pt>
    <dgm:pt modelId="{CD9467F8-3C65-44A7-81AD-035DEA90ADE5}" type="pres">
      <dgm:prSet presAssocID="{5687EA6D-683B-4CED-ADA6-449C1A45943B}" presName="textNode" presStyleLbl="node1" presStyleIdx="0" presStyleCnt="4" custScaleX="66653" custScaleY="9751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8D01DD1-42F6-469D-957C-32E94120C609}" type="pres">
      <dgm:prSet presAssocID="{6A268511-7783-4257-B156-2C95B6E7D5CC}" presName="sibTrans" presStyleCnt="0"/>
      <dgm:spPr/>
      <dgm:t>
        <a:bodyPr/>
        <a:lstStyle/>
        <a:p>
          <a:endParaRPr lang="fr-FR"/>
        </a:p>
      </dgm:t>
    </dgm:pt>
    <dgm:pt modelId="{9C2D38EE-197B-4DFD-852B-3FA086B46C75}" type="pres">
      <dgm:prSet presAssocID="{FD1787BB-F015-4D58-9962-1E4734691E31}" presName="textNode" presStyleLbl="node1" presStyleIdx="1" presStyleCnt="4" custScaleX="62798" custScaleY="9693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53FF291-CD91-4209-8C18-96E8C96112DA}" type="pres">
      <dgm:prSet presAssocID="{598D7715-5C12-4E16-9460-515AE80A49CD}" presName="sibTrans" presStyleCnt="0"/>
      <dgm:spPr/>
      <dgm:t>
        <a:bodyPr/>
        <a:lstStyle/>
        <a:p>
          <a:endParaRPr lang="fr-FR"/>
        </a:p>
      </dgm:t>
    </dgm:pt>
    <dgm:pt modelId="{38C70712-5EE5-4183-BF7B-302DED3626FA}" type="pres">
      <dgm:prSet presAssocID="{F5EFDFC2-1139-47AB-AA3E-EFCE99359616}" presName="textNode" presStyleLbl="node1" presStyleIdx="2" presStyleCnt="4" custScaleX="55626" custScaleY="9693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1CEFCD2-E97B-4F40-B46A-FC21B0716099}" type="pres">
      <dgm:prSet presAssocID="{E6B928BB-E438-49E6-83D5-390B53BBF057}" presName="sibTrans" presStyleCnt="0"/>
      <dgm:spPr/>
      <dgm:t>
        <a:bodyPr/>
        <a:lstStyle/>
        <a:p>
          <a:endParaRPr lang="fr-FR"/>
        </a:p>
      </dgm:t>
    </dgm:pt>
    <dgm:pt modelId="{79292EBB-9971-43E0-957D-EA4A8C17CF26}" type="pres">
      <dgm:prSet presAssocID="{48BC3201-B37E-4489-8595-6A996048659B}" presName="textNode" presStyleLbl="node1" presStyleIdx="3" presStyleCnt="4" custScaleX="57645" custScaleY="98097" custLinFactNeighborX="-50955" custLinFactNeighborY="29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40C98FF-6E3F-4501-9924-A1B9B4826273}" srcId="{69E9DA29-923D-4D2D-BF34-56FB0D861D78}" destId="{FD1787BB-F015-4D58-9962-1E4734691E31}" srcOrd="1" destOrd="0" parTransId="{3C7F8901-CFEC-49BC-8892-8E4B36883D02}" sibTransId="{598D7715-5C12-4E16-9460-515AE80A49CD}"/>
    <dgm:cxn modelId="{338C2170-86B7-4698-8751-605CAD00A7BB}" type="presOf" srcId="{FD1787BB-F015-4D58-9962-1E4734691E31}" destId="{9C2D38EE-197B-4DFD-852B-3FA086B46C75}" srcOrd="0" destOrd="0" presId="urn:microsoft.com/office/officeart/2005/8/layout/hProcess9"/>
    <dgm:cxn modelId="{BAB5C9E4-AEC9-4960-AA1E-A12139014C42}" type="presOf" srcId="{69E9DA29-923D-4D2D-BF34-56FB0D861D78}" destId="{B7309FFB-DB50-4940-AEAE-7C8570C7791B}" srcOrd="0" destOrd="0" presId="urn:microsoft.com/office/officeart/2005/8/layout/hProcess9"/>
    <dgm:cxn modelId="{59E008F7-3D72-4E72-8D2B-9925B608D6D2}" srcId="{69E9DA29-923D-4D2D-BF34-56FB0D861D78}" destId="{5687EA6D-683B-4CED-ADA6-449C1A45943B}" srcOrd="0" destOrd="0" parTransId="{A2A9F284-28F2-4059-B30A-7558B19DA847}" sibTransId="{6A268511-7783-4257-B156-2C95B6E7D5CC}"/>
    <dgm:cxn modelId="{359C0E1E-71F7-4A24-9581-7FCFFA13D5A8}" type="presOf" srcId="{48BC3201-B37E-4489-8595-6A996048659B}" destId="{79292EBB-9971-43E0-957D-EA4A8C17CF26}" srcOrd="0" destOrd="0" presId="urn:microsoft.com/office/officeart/2005/8/layout/hProcess9"/>
    <dgm:cxn modelId="{1E50A9F1-1BCC-4381-B32C-3A21492B8206}" type="presOf" srcId="{5687EA6D-683B-4CED-ADA6-449C1A45943B}" destId="{CD9467F8-3C65-44A7-81AD-035DEA90ADE5}" srcOrd="0" destOrd="0" presId="urn:microsoft.com/office/officeart/2005/8/layout/hProcess9"/>
    <dgm:cxn modelId="{32C82AB4-6CD9-4CAA-86D9-155EBE896600}" type="presOf" srcId="{F5EFDFC2-1139-47AB-AA3E-EFCE99359616}" destId="{38C70712-5EE5-4183-BF7B-302DED3626FA}" srcOrd="0" destOrd="0" presId="urn:microsoft.com/office/officeart/2005/8/layout/hProcess9"/>
    <dgm:cxn modelId="{C670F127-FB4B-43E9-B2AE-AB6821175267}" srcId="{69E9DA29-923D-4D2D-BF34-56FB0D861D78}" destId="{F5EFDFC2-1139-47AB-AA3E-EFCE99359616}" srcOrd="2" destOrd="0" parTransId="{93B04D7A-6CCA-4D3B-938A-46848F2FF590}" sibTransId="{E6B928BB-E438-49E6-83D5-390B53BBF057}"/>
    <dgm:cxn modelId="{B5749D05-0566-4E2F-8B69-FF98DDB46F1B}" srcId="{69E9DA29-923D-4D2D-BF34-56FB0D861D78}" destId="{48BC3201-B37E-4489-8595-6A996048659B}" srcOrd="3" destOrd="0" parTransId="{82F9FFDC-7F62-4EF0-8CAE-18CFE2702527}" sibTransId="{44716DED-D6A5-4134-B9A4-D0C7237F4504}"/>
    <dgm:cxn modelId="{A5553104-E246-4FA1-905E-8B804160085D}" type="presParOf" srcId="{B7309FFB-DB50-4940-AEAE-7C8570C7791B}" destId="{6033A584-987D-4BA9-980E-49FC27EAA08F}" srcOrd="0" destOrd="0" presId="urn:microsoft.com/office/officeart/2005/8/layout/hProcess9"/>
    <dgm:cxn modelId="{81ACB15E-6387-4ACD-8881-085E6DB6A0EF}" type="presParOf" srcId="{B7309FFB-DB50-4940-AEAE-7C8570C7791B}" destId="{FC0EC45A-3225-4434-8655-321BB660F878}" srcOrd="1" destOrd="0" presId="urn:microsoft.com/office/officeart/2005/8/layout/hProcess9"/>
    <dgm:cxn modelId="{3C15D0EA-4028-45F4-8D58-E51C2F5A3327}" type="presParOf" srcId="{FC0EC45A-3225-4434-8655-321BB660F878}" destId="{CD9467F8-3C65-44A7-81AD-035DEA90ADE5}" srcOrd="0" destOrd="0" presId="urn:microsoft.com/office/officeart/2005/8/layout/hProcess9"/>
    <dgm:cxn modelId="{6E2BF274-C8C4-46E7-B9FF-463139B05CA9}" type="presParOf" srcId="{FC0EC45A-3225-4434-8655-321BB660F878}" destId="{F8D01DD1-42F6-469D-957C-32E94120C609}" srcOrd="1" destOrd="0" presId="urn:microsoft.com/office/officeart/2005/8/layout/hProcess9"/>
    <dgm:cxn modelId="{3EA9CBAC-B0C2-4242-AC01-81CB9FCA83DF}" type="presParOf" srcId="{FC0EC45A-3225-4434-8655-321BB660F878}" destId="{9C2D38EE-197B-4DFD-852B-3FA086B46C75}" srcOrd="2" destOrd="0" presId="urn:microsoft.com/office/officeart/2005/8/layout/hProcess9"/>
    <dgm:cxn modelId="{9CFFE470-FD75-4EB4-B7A9-289C46AFCFD6}" type="presParOf" srcId="{FC0EC45A-3225-4434-8655-321BB660F878}" destId="{A53FF291-CD91-4209-8C18-96E8C96112DA}" srcOrd="3" destOrd="0" presId="urn:microsoft.com/office/officeart/2005/8/layout/hProcess9"/>
    <dgm:cxn modelId="{0D95FE99-3275-4F25-A6C3-104032B45944}" type="presParOf" srcId="{FC0EC45A-3225-4434-8655-321BB660F878}" destId="{38C70712-5EE5-4183-BF7B-302DED3626FA}" srcOrd="4" destOrd="0" presId="urn:microsoft.com/office/officeart/2005/8/layout/hProcess9"/>
    <dgm:cxn modelId="{5081A909-16AC-481A-8354-143818C95A74}" type="presParOf" srcId="{FC0EC45A-3225-4434-8655-321BB660F878}" destId="{41CEFCD2-E97B-4F40-B46A-FC21B0716099}" srcOrd="5" destOrd="0" presId="urn:microsoft.com/office/officeart/2005/8/layout/hProcess9"/>
    <dgm:cxn modelId="{852F1D7B-1D24-493C-9A95-1972FFAC9027}" type="presParOf" srcId="{FC0EC45A-3225-4434-8655-321BB660F878}" destId="{79292EBB-9971-43E0-957D-EA4A8C17CF26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94A7CE4-9B3E-4819-9E93-D95CEB2D1AB4}" type="presOf" srcId="{550E20B0-80A8-42F2-BFE2-A3961B05A02A}" destId="{3D35B79B-418E-472B-B684-1ACC0A6CC011}" srcOrd="0" destOrd="0" presId="urn:microsoft.com/office/officeart/2005/8/layout/process2"/>
    <dgm:cxn modelId="{210B0DC4-86A4-449F-8EBB-D75DA738F32E}" type="presOf" srcId="{294402DA-D638-4BA1-B669-C7A658DFF56C}" destId="{2E1F2D2C-88F0-4727-80FE-ADD5804EF2B7}" srcOrd="0" destOrd="0" presId="urn:microsoft.com/office/officeart/2005/8/layout/process2"/>
    <dgm:cxn modelId="{CBDA8993-5534-4693-813A-8299AF940EB0}" type="presOf" srcId="{FDFF01D2-F3CC-4D2C-A015-471198A0D6C7}" destId="{0DFF998B-AB70-42CB-B86E-F2EDC6F014F8}" srcOrd="0" destOrd="0" presId="urn:microsoft.com/office/officeart/2005/8/layout/process2"/>
    <dgm:cxn modelId="{1874E8DB-6951-4E91-8BA2-CB91D16B6F0F}" type="presOf" srcId="{F7237CAD-458A-4DEE-BE25-3568BFF65879}" destId="{ADF04F16-ABFC-4DEA-9719-FE2EDEC087DE}" srcOrd="1" destOrd="0" presId="urn:microsoft.com/office/officeart/2005/8/layout/process2"/>
    <dgm:cxn modelId="{F5AE3718-FCD3-49DA-AEDA-5E90F3B08625}" type="presOf" srcId="{65ADC171-D76B-4DA2-9796-3C9108575BCF}" destId="{4FD2053B-5A77-4D34-8C66-D50B8724D81E}" srcOrd="0" destOrd="0" presId="urn:microsoft.com/office/officeart/2005/8/layout/process2"/>
    <dgm:cxn modelId="{0AF9329E-CC97-446F-9552-77E1AD8B31FB}" type="presOf" srcId="{F6B57F0F-2727-4614-A7FD-35FD6FCAF6E6}" destId="{219009EE-9B51-4162-9EBA-7B83AECF4795}" srcOrd="1" destOrd="0" presId="urn:microsoft.com/office/officeart/2005/8/layout/process2"/>
    <dgm:cxn modelId="{8009ECA5-37F6-4B7F-848B-03DF48CF5B71}" type="presOf" srcId="{2CEC1776-9DE4-48EC-8B3A-CE30A34C08A8}" destId="{44B7898F-5A22-4319-8D85-0B72C2EF45F9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5E887CB8-101D-437C-9FDF-1276F155E68D}" type="presOf" srcId="{EAE0BE0B-47C3-4CD6-817F-ECFB5232CEF3}" destId="{492AF956-F719-422D-9244-7729846A0ADF}" srcOrd="0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083100BE-850A-44AC-9AD7-03360C7669C1}" type="presOf" srcId="{A1FA66E9-6B47-43A9-A691-995B4B7D915F}" destId="{CD5751FF-25F1-44FE-B9E8-824DB4F14981}" srcOrd="0" destOrd="0" presId="urn:microsoft.com/office/officeart/2005/8/layout/process2"/>
    <dgm:cxn modelId="{0E285E13-640D-47D8-824B-D02C874687ED}" type="presOf" srcId="{E5A0750E-9076-4558-8E66-C53A1107536F}" destId="{EB198668-65DF-4501-B2F3-20013C293CC4}" srcOrd="1" destOrd="0" presId="urn:microsoft.com/office/officeart/2005/8/layout/process2"/>
    <dgm:cxn modelId="{E6518D74-88F6-45B8-9456-C35800E327D2}" type="presOf" srcId="{2AE408E0-1AF5-4F80-BFA2-F6C645A283D4}" destId="{5351E9FE-A558-447E-A302-DBACA0DF592D}" srcOrd="1" destOrd="0" presId="urn:microsoft.com/office/officeart/2005/8/layout/process2"/>
    <dgm:cxn modelId="{D5282B2D-1EA6-4F3E-8838-CB8D07F09D75}" type="presOf" srcId="{FDFF01D2-F3CC-4D2C-A015-471198A0D6C7}" destId="{98E1D376-F99A-44C4-8AC9-E145DB47BC54}" srcOrd="1" destOrd="0" presId="urn:microsoft.com/office/officeart/2005/8/layout/process2"/>
    <dgm:cxn modelId="{CEEDA598-FC2D-4B0F-B2B1-41D3FEF072AB}" type="presOf" srcId="{CC0749E6-31F7-4C9D-B494-AD9D61032896}" destId="{B22BB23F-E05B-4013-81BD-85F13AFDE6D1}" srcOrd="0" destOrd="0" presId="urn:microsoft.com/office/officeart/2005/8/layout/process2"/>
    <dgm:cxn modelId="{3F5BFDCA-EFDA-4202-BEF3-8982400EB14D}" type="presOf" srcId="{9C241770-5D57-447B-B2C6-700BC348595B}" destId="{7EF63230-6818-417B-9423-2B2909FB868A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F1588015-7DED-4472-ACBB-9B829F23C9CA}" type="presOf" srcId="{E5A0750E-9076-4558-8E66-C53A1107536F}" destId="{A84114DE-6569-47D6-AD13-3BDCDD5C3236}" srcOrd="0" destOrd="0" presId="urn:microsoft.com/office/officeart/2005/8/layout/process2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31F3FBE1-6126-4A1E-BC76-6E1F6D25956F}" type="presOf" srcId="{F6B57F0F-2727-4614-A7FD-35FD6FCAF6E6}" destId="{6C27A5CC-5F13-4059-9AE7-C0A63DD7EC7E}" srcOrd="0" destOrd="0" presId="urn:microsoft.com/office/officeart/2005/8/layout/process2"/>
    <dgm:cxn modelId="{0677CA9D-88C0-4A3F-8D21-60E5F15D844A}" type="presOf" srcId="{9EFE1160-C5B7-455D-AE24-A575AB41076E}" destId="{D49DFB90-1383-44F2-BB66-0887BCA7C4E5}" srcOrd="0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64039A67-D884-42BC-9785-49CD1C75AC56}" type="presOf" srcId="{2A49C2D7-12D0-4518-BC98-A3272820B530}" destId="{564A9C2A-4DC0-4B71-8BDC-7615D299EDCD}" srcOrd="0" destOrd="0" presId="urn:microsoft.com/office/officeart/2005/8/layout/process2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D6B008FD-08AB-445D-8BC4-9C78002390AF}" type="presOf" srcId="{2AE408E0-1AF5-4F80-BFA2-F6C645A283D4}" destId="{F9790B67-A8A7-47D4-8E75-D889EA350148}" srcOrd="0" destOrd="0" presId="urn:microsoft.com/office/officeart/2005/8/layout/process2"/>
    <dgm:cxn modelId="{33D5A4BF-0F31-4787-B939-9B0942262012}" type="presOf" srcId="{E5D2D304-F13F-4199-9163-2AD87DD91923}" destId="{85F2BDF6-F9F8-41DC-9874-6F84B6C7034A}" srcOrd="0" destOrd="0" presId="urn:microsoft.com/office/officeart/2005/8/layout/process2"/>
    <dgm:cxn modelId="{15496A1A-D1A8-41BA-9E66-CF4C7DB096AC}" type="presOf" srcId="{78DC5BE3-9B5F-4CD7-B0EC-6566CDEFFE79}" destId="{28AF62BE-D6B0-493F-B896-8629ECF24A49}" srcOrd="0" destOrd="0" presId="urn:microsoft.com/office/officeart/2005/8/layout/process2"/>
    <dgm:cxn modelId="{12CD86EB-9DDF-4CD1-A5CA-550B185CB17D}" type="presOf" srcId="{78DC5BE3-9B5F-4CD7-B0EC-6566CDEFFE79}" destId="{D1E38222-CE22-4A67-AEEE-B8A0996FDF5D}" srcOrd="1" destOrd="0" presId="urn:microsoft.com/office/officeart/2005/8/layout/process2"/>
    <dgm:cxn modelId="{5FB756F4-0B1D-4344-B5DA-993FBD515C6C}" type="presOf" srcId="{F7237CAD-458A-4DEE-BE25-3568BFF65879}" destId="{6C1BCA69-22CF-4F05-B914-357F6B8C02D5}" srcOrd="0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FF8987DB-FA34-4ADD-846D-C47819C9F9A2}" type="presOf" srcId="{CC0749E6-31F7-4C9D-B494-AD9D61032896}" destId="{3C47B04F-CBBD-4ADD-A6BE-15EEB39DBB7F}" srcOrd="1" destOrd="0" presId="urn:microsoft.com/office/officeart/2005/8/layout/process2"/>
    <dgm:cxn modelId="{BF89A248-E4F7-449C-92E4-0F38A6D27BBD}" type="presOf" srcId="{1AB6682E-C77A-48CC-818B-2A7EC3934804}" destId="{76E90E60-5B19-4029-8BE8-12C0FAC09B4F}" srcOrd="0" destOrd="0" presId="urn:microsoft.com/office/officeart/2005/8/layout/process2"/>
    <dgm:cxn modelId="{8F028A24-76E3-4E70-9BA5-BCBDBA25BB07}" type="presOf" srcId="{2CEC1776-9DE4-48EC-8B3A-CE30A34C08A8}" destId="{408A314B-8D14-452B-BB30-A6CDFBC7604D}" srcOrd="1" destOrd="0" presId="urn:microsoft.com/office/officeart/2005/8/layout/process2"/>
    <dgm:cxn modelId="{A87CDEBC-F325-4F29-B263-29D96BCF66A2}" type="presParOf" srcId="{492AF956-F719-422D-9244-7729846A0ADF}" destId="{85F2BDF6-F9F8-41DC-9874-6F84B6C7034A}" srcOrd="0" destOrd="0" presId="urn:microsoft.com/office/officeart/2005/8/layout/process2"/>
    <dgm:cxn modelId="{DCD2C7E9-5132-439C-9BCE-BF06F3DE6AEF}" type="presParOf" srcId="{492AF956-F719-422D-9244-7729846A0ADF}" destId="{44B7898F-5A22-4319-8D85-0B72C2EF45F9}" srcOrd="1" destOrd="0" presId="urn:microsoft.com/office/officeart/2005/8/layout/process2"/>
    <dgm:cxn modelId="{95EE2A2F-D93A-44FC-917E-0B09563FCCE9}" type="presParOf" srcId="{44B7898F-5A22-4319-8D85-0B72C2EF45F9}" destId="{408A314B-8D14-452B-BB30-A6CDFBC7604D}" srcOrd="0" destOrd="0" presId="urn:microsoft.com/office/officeart/2005/8/layout/process2"/>
    <dgm:cxn modelId="{C82B1AB7-F54F-41D8-BDBA-4BC4C33AF195}" type="presParOf" srcId="{492AF956-F719-422D-9244-7729846A0ADF}" destId="{3D35B79B-418E-472B-B684-1ACC0A6CC011}" srcOrd="2" destOrd="0" presId="urn:microsoft.com/office/officeart/2005/8/layout/process2"/>
    <dgm:cxn modelId="{76E3E427-5AF7-43C8-9CF2-C0D7781EEF0D}" type="presParOf" srcId="{492AF956-F719-422D-9244-7729846A0ADF}" destId="{6C27A5CC-5F13-4059-9AE7-C0A63DD7EC7E}" srcOrd="3" destOrd="0" presId="urn:microsoft.com/office/officeart/2005/8/layout/process2"/>
    <dgm:cxn modelId="{BE4A1DF6-9DCF-4846-A9E9-4FD66C260129}" type="presParOf" srcId="{6C27A5CC-5F13-4059-9AE7-C0A63DD7EC7E}" destId="{219009EE-9B51-4162-9EBA-7B83AECF4795}" srcOrd="0" destOrd="0" presId="urn:microsoft.com/office/officeart/2005/8/layout/process2"/>
    <dgm:cxn modelId="{4C0A539C-6ACD-44B2-BA57-321F21B9DCE0}" type="presParOf" srcId="{492AF956-F719-422D-9244-7729846A0ADF}" destId="{4FD2053B-5A77-4D34-8C66-D50B8724D81E}" srcOrd="4" destOrd="0" presId="urn:microsoft.com/office/officeart/2005/8/layout/process2"/>
    <dgm:cxn modelId="{F1A68FE1-5090-4E02-B025-E7037BFEEE8B}" type="presParOf" srcId="{492AF956-F719-422D-9244-7729846A0ADF}" destId="{F9790B67-A8A7-47D4-8E75-D889EA350148}" srcOrd="5" destOrd="0" presId="urn:microsoft.com/office/officeart/2005/8/layout/process2"/>
    <dgm:cxn modelId="{62E7577E-C5E2-41A5-9333-49EEDFF1B520}" type="presParOf" srcId="{F9790B67-A8A7-47D4-8E75-D889EA350148}" destId="{5351E9FE-A558-447E-A302-DBACA0DF592D}" srcOrd="0" destOrd="0" presId="urn:microsoft.com/office/officeart/2005/8/layout/process2"/>
    <dgm:cxn modelId="{E436F13D-E38A-4AD3-982C-9EB354CD5D77}" type="presParOf" srcId="{492AF956-F719-422D-9244-7729846A0ADF}" destId="{7EF63230-6818-417B-9423-2B2909FB868A}" srcOrd="6" destOrd="0" presId="urn:microsoft.com/office/officeart/2005/8/layout/process2"/>
    <dgm:cxn modelId="{D89D294E-5BFB-46E2-A074-0EA1A833A0B1}" type="presParOf" srcId="{492AF956-F719-422D-9244-7729846A0ADF}" destId="{6C1BCA69-22CF-4F05-B914-357F6B8C02D5}" srcOrd="7" destOrd="0" presId="urn:microsoft.com/office/officeart/2005/8/layout/process2"/>
    <dgm:cxn modelId="{69023387-98DA-4547-B064-1F7FF9BC00EF}" type="presParOf" srcId="{6C1BCA69-22CF-4F05-B914-357F6B8C02D5}" destId="{ADF04F16-ABFC-4DEA-9719-FE2EDEC087DE}" srcOrd="0" destOrd="0" presId="urn:microsoft.com/office/officeart/2005/8/layout/process2"/>
    <dgm:cxn modelId="{FEF19F5C-3102-4F71-AD61-1DF4E8CBB89B}" type="presParOf" srcId="{492AF956-F719-422D-9244-7729846A0ADF}" destId="{564A9C2A-4DC0-4B71-8BDC-7615D299EDCD}" srcOrd="8" destOrd="0" presId="urn:microsoft.com/office/officeart/2005/8/layout/process2"/>
    <dgm:cxn modelId="{43DFEAC6-AE0D-4E21-B706-EE1CBB33AE6C}" type="presParOf" srcId="{492AF956-F719-422D-9244-7729846A0ADF}" destId="{0DFF998B-AB70-42CB-B86E-F2EDC6F014F8}" srcOrd="9" destOrd="0" presId="urn:microsoft.com/office/officeart/2005/8/layout/process2"/>
    <dgm:cxn modelId="{666383E6-6FF0-40BF-AF29-FB4CCD9B97B7}" type="presParOf" srcId="{0DFF998B-AB70-42CB-B86E-F2EDC6F014F8}" destId="{98E1D376-F99A-44C4-8AC9-E145DB47BC54}" srcOrd="0" destOrd="0" presId="urn:microsoft.com/office/officeart/2005/8/layout/process2"/>
    <dgm:cxn modelId="{F6C7A73F-DFC6-429C-B5FD-093FEF0A5AB7}" type="presParOf" srcId="{492AF956-F719-422D-9244-7729846A0ADF}" destId="{D49DFB90-1383-44F2-BB66-0887BCA7C4E5}" srcOrd="10" destOrd="0" presId="urn:microsoft.com/office/officeart/2005/8/layout/process2"/>
    <dgm:cxn modelId="{F8BAAF94-E21F-4EB7-8DB5-892D7A73DE50}" type="presParOf" srcId="{492AF956-F719-422D-9244-7729846A0ADF}" destId="{B22BB23F-E05B-4013-81BD-85F13AFDE6D1}" srcOrd="11" destOrd="0" presId="urn:microsoft.com/office/officeart/2005/8/layout/process2"/>
    <dgm:cxn modelId="{FD440EF6-619F-4571-8B7E-928FCF155251}" type="presParOf" srcId="{B22BB23F-E05B-4013-81BD-85F13AFDE6D1}" destId="{3C47B04F-CBBD-4ADD-A6BE-15EEB39DBB7F}" srcOrd="0" destOrd="0" presId="urn:microsoft.com/office/officeart/2005/8/layout/process2"/>
    <dgm:cxn modelId="{4E85E2C4-2257-4013-93A7-E9239EFF440C}" type="presParOf" srcId="{492AF956-F719-422D-9244-7729846A0ADF}" destId="{CD5751FF-25F1-44FE-B9E8-824DB4F14981}" srcOrd="12" destOrd="0" presId="urn:microsoft.com/office/officeart/2005/8/layout/process2"/>
    <dgm:cxn modelId="{4C0E663F-9416-4233-9876-72105DA4B5CA}" type="presParOf" srcId="{492AF956-F719-422D-9244-7729846A0ADF}" destId="{28AF62BE-D6B0-493F-B896-8629ECF24A49}" srcOrd="13" destOrd="0" presId="urn:microsoft.com/office/officeart/2005/8/layout/process2"/>
    <dgm:cxn modelId="{D0250184-E254-4006-8506-E9F254E6FBD9}" type="presParOf" srcId="{28AF62BE-D6B0-493F-B896-8629ECF24A49}" destId="{D1E38222-CE22-4A67-AEEE-B8A0996FDF5D}" srcOrd="0" destOrd="0" presId="urn:microsoft.com/office/officeart/2005/8/layout/process2"/>
    <dgm:cxn modelId="{7729177D-4E17-4A6E-94AF-F40391ED5272}" type="presParOf" srcId="{492AF956-F719-422D-9244-7729846A0ADF}" destId="{76E90E60-5B19-4029-8BE8-12C0FAC09B4F}" srcOrd="14" destOrd="0" presId="urn:microsoft.com/office/officeart/2005/8/layout/process2"/>
    <dgm:cxn modelId="{6002CCEE-CD71-409D-BFD4-06E2C6F7A3DF}" type="presParOf" srcId="{492AF956-F719-422D-9244-7729846A0ADF}" destId="{A84114DE-6569-47D6-AD13-3BDCDD5C3236}" srcOrd="15" destOrd="0" presId="urn:microsoft.com/office/officeart/2005/8/layout/process2"/>
    <dgm:cxn modelId="{FFE400D8-6007-491B-A205-4D9164474C8F}" type="presParOf" srcId="{A84114DE-6569-47D6-AD13-3BDCDD5C3236}" destId="{EB198668-65DF-4501-B2F3-20013C293CC4}" srcOrd="0" destOrd="0" presId="urn:microsoft.com/office/officeart/2005/8/layout/process2"/>
    <dgm:cxn modelId="{3A7A58AD-B7B5-4D3E-A322-016EFA947ECC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DDC92AE-D72B-4F2D-A387-84EEB1CC05D0}" type="doc">
      <dgm:prSet loTypeId="urn:microsoft.com/office/officeart/2005/8/layout/pyramid1" loCatId="pyramid" qsTypeId="urn:microsoft.com/office/officeart/2005/8/quickstyle/3d3" qsCatId="3D" csTypeId="urn:microsoft.com/office/officeart/2005/8/colors/colorful1#1" csCatId="colorful" phldr="1"/>
      <dgm:spPr/>
      <dgm:t>
        <a:bodyPr/>
        <a:lstStyle/>
        <a:p>
          <a:endParaRPr lang="fr-FR"/>
        </a:p>
      </dgm:t>
    </dgm:pt>
    <dgm:pt modelId="{BA309E17-70F0-4FEB-A092-D28A888A2103}">
      <dgm:prSet phldrT="[Texte]" custT="1"/>
      <dgm:spPr/>
      <dgm:t>
        <a:bodyPr/>
        <a:lstStyle/>
        <a:p>
          <a:r>
            <a:rPr lang="fr-FR" sz="18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L’écoute</a:t>
          </a:r>
          <a:endParaRPr lang="fr-FR" sz="16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FD599529-129C-401B-946E-87C0188F2D4F}" type="parTrans" cxnId="{00274349-0DC0-4CE3-91C7-C0933633EEA7}">
      <dgm:prSet/>
      <dgm:spPr/>
      <dgm:t>
        <a:bodyPr/>
        <a:lstStyle/>
        <a:p>
          <a:endParaRPr lang="fr-FR">
            <a:latin typeface="+mj-lt"/>
          </a:endParaRPr>
        </a:p>
      </dgm:t>
    </dgm:pt>
    <dgm:pt modelId="{31D2F94B-616C-4E04-BA1C-182A60FAFD49}" type="sibTrans" cxnId="{00274349-0DC0-4CE3-91C7-C0933633EEA7}">
      <dgm:prSet/>
      <dgm:spPr/>
      <dgm:t>
        <a:bodyPr/>
        <a:lstStyle/>
        <a:p>
          <a:endParaRPr lang="fr-FR">
            <a:latin typeface="+mj-lt"/>
          </a:endParaRPr>
        </a:p>
      </dgm:t>
    </dgm:pt>
    <dgm:pt modelId="{AB682521-BBAE-480A-8D21-4899916E2B3D}">
      <dgm:prSet phldrT="[Texte]"/>
      <dgm:spPr/>
      <dgm:t>
        <a:bodyPr/>
        <a:lstStyle/>
        <a:p>
          <a:r>
            <a:rPr lang="fr-FR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Attributs psychologiques</a:t>
          </a:r>
          <a:endParaRPr lang="fr-FR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68D66FE9-5B60-42EA-B7AB-D904E597E8DD}" type="parTrans" cxnId="{E1D9E612-858A-4ACF-B3E5-D3E4BA829A04}">
      <dgm:prSet/>
      <dgm:spPr/>
      <dgm:t>
        <a:bodyPr/>
        <a:lstStyle/>
        <a:p>
          <a:endParaRPr lang="fr-FR">
            <a:latin typeface="+mj-lt"/>
          </a:endParaRPr>
        </a:p>
      </dgm:t>
    </dgm:pt>
    <dgm:pt modelId="{66440848-F9EC-4CEA-BD9B-335EAC9C56AB}" type="sibTrans" cxnId="{E1D9E612-858A-4ACF-B3E5-D3E4BA829A04}">
      <dgm:prSet/>
      <dgm:spPr/>
      <dgm:t>
        <a:bodyPr/>
        <a:lstStyle/>
        <a:p>
          <a:endParaRPr lang="fr-FR">
            <a:latin typeface="+mj-lt"/>
          </a:endParaRPr>
        </a:p>
      </dgm:t>
    </dgm:pt>
    <dgm:pt modelId="{38C4F902-DC46-442F-A6F7-E242450FDA09}">
      <dgm:prSet phldrT="[Texte]"/>
      <dgm:spPr/>
      <dgm:t>
        <a:bodyPr/>
        <a:lstStyle/>
        <a:p>
          <a:r>
            <a:rPr lang="fr-FR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Valeurs ajoutées intellectuelles</a:t>
          </a:r>
          <a:endParaRPr lang="fr-FR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362DBBF2-3952-4647-8FFD-4B95FBB41DB1}" type="parTrans" cxnId="{473D08EA-BA39-4DC6-BCBE-BACF88DFC100}">
      <dgm:prSet/>
      <dgm:spPr/>
      <dgm:t>
        <a:bodyPr/>
        <a:lstStyle/>
        <a:p>
          <a:endParaRPr lang="fr-FR">
            <a:latin typeface="+mj-lt"/>
          </a:endParaRPr>
        </a:p>
      </dgm:t>
    </dgm:pt>
    <dgm:pt modelId="{FC6F2896-353B-4D25-A23F-F7FA45FBE299}" type="sibTrans" cxnId="{473D08EA-BA39-4DC6-BCBE-BACF88DFC100}">
      <dgm:prSet/>
      <dgm:spPr/>
      <dgm:t>
        <a:bodyPr/>
        <a:lstStyle/>
        <a:p>
          <a:endParaRPr lang="fr-FR">
            <a:latin typeface="+mj-lt"/>
          </a:endParaRPr>
        </a:p>
      </dgm:t>
    </dgm:pt>
    <dgm:pt modelId="{B183BAE2-95BA-42AC-9AA6-0FD5CDA7E1C6}">
      <dgm:prSet/>
      <dgm:spPr/>
      <dgm:t>
        <a:bodyPr/>
        <a:lstStyle/>
        <a:p>
          <a:r>
            <a:rPr lang="fr-FR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Capacité du manager à intervenir sur son collaborateur</a:t>
          </a:r>
          <a:endParaRPr lang="fr-FR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C80423C9-2DE8-47DF-A1D5-55E11701866B}" type="parTrans" cxnId="{53103393-00C6-4500-9E4A-C71F5E4C585D}">
      <dgm:prSet/>
      <dgm:spPr/>
      <dgm:t>
        <a:bodyPr/>
        <a:lstStyle/>
        <a:p>
          <a:endParaRPr lang="fr-FR"/>
        </a:p>
      </dgm:t>
    </dgm:pt>
    <dgm:pt modelId="{CE7E76DA-F952-478B-8C18-16EA26566110}" type="sibTrans" cxnId="{53103393-00C6-4500-9E4A-C71F5E4C585D}">
      <dgm:prSet/>
      <dgm:spPr/>
      <dgm:t>
        <a:bodyPr/>
        <a:lstStyle/>
        <a:p>
          <a:endParaRPr lang="fr-FR"/>
        </a:p>
      </dgm:t>
    </dgm:pt>
    <dgm:pt modelId="{238ABAE6-4FE9-4F21-8E05-E3B2DFCDBADE}">
      <dgm:prSet/>
      <dgm:spPr/>
      <dgm:t>
        <a:bodyPr/>
        <a:lstStyle/>
        <a:p>
          <a:r>
            <a:rPr lang="fr-FR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Qualités professionnelles </a:t>
          </a:r>
          <a:endParaRPr lang="fr-FR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F5E20F49-4B09-4699-8A04-FE2D1184C29B}" type="parTrans" cxnId="{C58FC4A9-6C1E-4CF2-92D5-C6AA8AA52966}">
      <dgm:prSet/>
      <dgm:spPr/>
      <dgm:t>
        <a:bodyPr/>
        <a:lstStyle/>
        <a:p>
          <a:endParaRPr lang="fr-FR"/>
        </a:p>
      </dgm:t>
    </dgm:pt>
    <dgm:pt modelId="{7D1674EE-8098-46A5-8831-F4A569DB8D02}" type="sibTrans" cxnId="{C58FC4A9-6C1E-4CF2-92D5-C6AA8AA52966}">
      <dgm:prSet/>
      <dgm:spPr/>
      <dgm:t>
        <a:bodyPr/>
        <a:lstStyle/>
        <a:p>
          <a:endParaRPr lang="fr-FR"/>
        </a:p>
      </dgm:t>
    </dgm:pt>
    <dgm:pt modelId="{B4AC3DE1-33E4-4F68-9EEB-E9C1C496C4C7}" type="pres">
      <dgm:prSet presAssocID="{FDDC92AE-D72B-4F2D-A387-84EEB1CC05D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0CC8FB1-29E9-43D6-964A-D177B469267F}" type="pres">
      <dgm:prSet presAssocID="{BA309E17-70F0-4FEB-A092-D28A888A2103}" presName="Name8" presStyleCnt="0"/>
      <dgm:spPr/>
    </dgm:pt>
    <dgm:pt modelId="{0B40B242-A591-4B00-AEFE-504DA5848670}" type="pres">
      <dgm:prSet presAssocID="{BA309E17-70F0-4FEB-A092-D28A888A2103}" presName="level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3633A70-DB52-44F9-9BE7-169AF2B3DF43}" type="pres">
      <dgm:prSet presAssocID="{BA309E17-70F0-4FEB-A092-D28A888A210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B52BBC7-EC59-43B2-8D0A-4EE96B39E5F2}" type="pres">
      <dgm:prSet presAssocID="{AB682521-BBAE-480A-8D21-4899916E2B3D}" presName="Name8" presStyleCnt="0"/>
      <dgm:spPr/>
    </dgm:pt>
    <dgm:pt modelId="{A8A6FEEC-D6D1-479F-8335-32880D8C759E}" type="pres">
      <dgm:prSet presAssocID="{AB682521-BBAE-480A-8D21-4899916E2B3D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82D5F2B-0040-4094-A7BE-5A866324B075}" type="pres">
      <dgm:prSet presAssocID="{AB682521-BBAE-480A-8D21-4899916E2B3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28A5669-6E3D-465C-831F-73876E371496}" type="pres">
      <dgm:prSet presAssocID="{38C4F902-DC46-442F-A6F7-E242450FDA09}" presName="Name8" presStyleCnt="0"/>
      <dgm:spPr/>
    </dgm:pt>
    <dgm:pt modelId="{CF840211-6929-4C28-98B8-7E5D31BF6375}" type="pres">
      <dgm:prSet presAssocID="{38C4F902-DC46-442F-A6F7-E242450FDA09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7312A4C-4C3C-42F0-8940-D36A7D9E3C17}" type="pres">
      <dgm:prSet presAssocID="{38C4F902-DC46-442F-A6F7-E242450FDA0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8D0A57B-D109-4115-AFD6-EA4FE1C0D65A}" type="pres">
      <dgm:prSet presAssocID="{B183BAE2-95BA-42AC-9AA6-0FD5CDA7E1C6}" presName="Name8" presStyleCnt="0"/>
      <dgm:spPr/>
    </dgm:pt>
    <dgm:pt modelId="{7F7A0E67-32D4-4D4B-A8A2-24D9FA10A3B7}" type="pres">
      <dgm:prSet presAssocID="{B183BAE2-95BA-42AC-9AA6-0FD5CDA7E1C6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35576D1-75F2-4108-8A09-1A2369F18E10}" type="pres">
      <dgm:prSet presAssocID="{B183BAE2-95BA-42AC-9AA6-0FD5CDA7E1C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05AB190-658C-463B-AE2B-44F5E830898A}" type="pres">
      <dgm:prSet presAssocID="{238ABAE6-4FE9-4F21-8E05-E3B2DFCDBADE}" presName="Name8" presStyleCnt="0"/>
      <dgm:spPr/>
    </dgm:pt>
    <dgm:pt modelId="{23C3FC62-690E-4202-9329-2BCC6CE8F325}" type="pres">
      <dgm:prSet presAssocID="{238ABAE6-4FE9-4F21-8E05-E3B2DFCDBADE}" presName="level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A6A8A2B-DE26-41E7-B4C7-B44A7A39DC2D}" type="pres">
      <dgm:prSet presAssocID="{238ABAE6-4FE9-4F21-8E05-E3B2DFCDBAD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B06FE63-1A9D-47E8-ADD7-D509E67FE4A7}" type="presOf" srcId="{BA309E17-70F0-4FEB-A092-D28A888A2103}" destId="{43633A70-DB52-44F9-9BE7-169AF2B3DF43}" srcOrd="1" destOrd="0" presId="urn:microsoft.com/office/officeart/2005/8/layout/pyramid1"/>
    <dgm:cxn modelId="{9D1714FC-E603-4044-AAAE-360EA8153688}" type="presOf" srcId="{AB682521-BBAE-480A-8D21-4899916E2B3D}" destId="{B82D5F2B-0040-4094-A7BE-5A866324B075}" srcOrd="1" destOrd="0" presId="urn:microsoft.com/office/officeart/2005/8/layout/pyramid1"/>
    <dgm:cxn modelId="{E1D9E612-858A-4ACF-B3E5-D3E4BA829A04}" srcId="{FDDC92AE-D72B-4F2D-A387-84EEB1CC05D0}" destId="{AB682521-BBAE-480A-8D21-4899916E2B3D}" srcOrd="1" destOrd="0" parTransId="{68D66FE9-5B60-42EA-B7AB-D904E597E8DD}" sibTransId="{66440848-F9EC-4CEA-BD9B-335EAC9C56AB}"/>
    <dgm:cxn modelId="{B9355D57-A212-43C0-9CB0-A3ACDAB20FB6}" type="presOf" srcId="{B183BAE2-95BA-42AC-9AA6-0FD5CDA7E1C6}" destId="{D35576D1-75F2-4108-8A09-1A2369F18E10}" srcOrd="1" destOrd="0" presId="urn:microsoft.com/office/officeart/2005/8/layout/pyramid1"/>
    <dgm:cxn modelId="{AD553A29-718C-42A8-AE41-8F7FF1D08C65}" type="presOf" srcId="{238ABAE6-4FE9-4F21-8E05-E3B2DFCDBADE}" destId="{23C3FC62-690E-4202-9329-2BCC6CE8F325}" srcOrd="0" destOrd="0" presId="urn:microsoft.com/office/officeart/2005/8/layout/pyramid1"/>
    <dgm:cxn modelId="{05364931-C5E7-4DA8-B88C-E6BB15D09368}" type="presOf" srcId="{38C4F902-DC46-442F-A6F7-E242450FDA09}" destId="{B7312A4C-4C3C-42F0-8940-D36A7D9E3C17}" srcOrd="1" destOrd="0" presId="urn:microsoft.com/office/officeart/2005/8/layout/pyramid1"/>
    <dgm:cxn modelId="{B792E11E-5023-4A00-8654-FFAE24FC52C9}" type="presOf" srcId="{BA309E17-70F0-4FEB-A092-D28A888A2103}" destId="{0B40B242-A591-4B00-AEFE-504DA5848670}" srcOrd="0" destOrd="0" presId="urn:microsoft.com/office/officeart/2005/8/layout/pyramid1"/>
    <dgm:cxn modelId="{F9A4F68C-DC25-4492-8932-7584122451B2}" type="presOf" srcId="{238ABAE6-4FE9-4F21-8E05-E3B2DFCDBADE}" destId="{1A6A8A2B-DE26-41E7-B4C7-B44A7A39DC2D}" srcOrd="1" destOrd="0" presId="urn:microsoft.com/office/officeart/2005/8/layout/pyramid1"/>
    <dgm:cxn modelId="{00274349-0DC0-4CE3-91C7-C0933633EEA7}" srcId="{FDDC92AE-D72B-4F2D-A387-84EEB1CC05D0}" destId="{BA309E17-70F0-4FEB-A092-D28A888A2103}" srcOrd="0" destOrd="0" parTransId="{FD599529-129C-401B-946E-87C0188F2D4F}" sibTransId="{31D2F94B-616C-4E04-BA1C-182A60FAFD49}"/>
    <dgm:cxn modelId="{B2FBBA68-FFE9-4766-85DA-29508DF1E7AF}" type="presOf" srcId="{AB682521-BBAE-480A-8D21-4899916E2B3D}" destId="{A8A6FEEC-D6D1-479F-8335-32880D8C759E}" srcOrd="0" destOrd="0" presId="urn:microsoft.com/office/officeart/2005/8/layout/pyramid1"/>
    <dgm:cxn modelId="{473D08EA-BA39-4DC6-BCBE-BACF88DFC100}" srcId="{FDDC92AE-D72B-4F2D-A387-84EEB1CC05D0}" destId="{38C4F902-DC46-442F-A6F7-E242450FDA09}" srcOrd="2" destOrd="0" parTransId="{362DBBF2-3952-4647-8FFD-4B95FBB41DB1}" sibTransId="{FC6F2896-353B-4D25-A23F-F7FA45FBE299}"/>
    <dgm:cxn modelId="{C58FC4A9-6C1E-4CF2-92D5-C6AA8AA52966}" srcId="{FDDC92AE-D72B-4F2D-A387-84EEB1CC05D0}" destId="{238ABAE6-4FE9-4F21-8E05-E3B2DFCDBADE}" srcOrd="4" destOrd="0" parTransId="{F5E20F49-4B09-4699-8A04-FE2D1184C29B}" sibTransId="{7D1674EE-8098-46A5-8831-F4A569DB8D02}"/>
    <dgm:cxn modelId="{0D126F35-17A5-42B3-A716-98A70E6756FD}" type="presOf" srcId="{FDDC92AE-D72B-4F2D-A387-84EEB1CC05D0}" destId="{B4AC3DE1-33E4-4F68-9EEB-E9C1C496C4C7}" srcOrd="0" destOrd="0" presId="urn:microsoft.com/office/officeart/2005/8/layout/pyramid1"/>
    <dgm:cxn modelId="{085773BB-C2E3-4693-80EC-A5E0BC39F6CE}" type="presOf" srcId="{38C4F902-DC46-442F-A6F7-E242450FDA09}" destId="{CF840211-6929-4C28-98B8-7E5D31BF6375}" srcOrd="0" destOrd="0" presId="urn:microsoft.com/office/officeart/2005/8/layout/pyramid1"/>
    <dgm:cxn modelId="{53103393-00C6-4500-9E4A-C71F5E4C585D}" srcId="{FDDC92AE-D72B-4F2D-A387-84EEB1CC05D0}" destId="{B183BAE2-95BA-42AC-9AA6-0FD5CDA7E1C6}" srcOrd="3" destOrd="0" parTransId="{C80423C9-2DE8-47DF-A1D5-55E11701866B}" sibTransId="{CE7E76DA-F952-478B-8C18-16EA26566110}"/>
    <dgm:cxn modelId="{32B8EF04-0F61-4C2B-8208-848FF2E60954}" type="presOf" srcId="{B183BAE2-95BA-42AC-9AA6-0FD5CDA7E1C6}" destId="{7F7A0E67-32D4-4D4B-A8A2-24D9FA10A3B7}" srcOrd="0" destOrd="0" presId="urn:microsoft.com/office/officeart/2005/8/layout/pyramid1"/>
    <dgm:cxn modelId="{70927458-6F08-4838-824F-F46D9EDBEF63}" type="presParOf" srcId="{B4AC3DE1-33E4-4F68-9EEB-E9C1C496C4C7}" destId="{F0CC8FB1-29E9-43D6-964A-D177B469267F}" srcOrd="0" destOrd="0" presId="urn:microsoft.com/office/officeart/2005/8/layout/pyramid1"/>
    <dgm:cxn modelId="{1C9222AF-FAAC-41B8-A716-788C461C7285}" type="presParOf" srcId="{F0CC8FB1-29E9-43D6-964A-D177B469267F}" destId="{0B40B242-A591-4B00-AEFE-504DA5848670}" srcOrd="0" destOrd="0" presId="urn:microsoft.com/office/officeart/2005/8/layout/pyramid1"/>
    <dgm:cxn modelId="{04200611-8241-4EC9-A31C-B0845177AC78}" type="presParOf" srcId="{F0CC8FB1-29E9-43D6-964A-D177B469267F}" destId="{43633A70-DB52-44F9-9BE7-169AF2B3DF43}" srcOrd="1" destOrd="0" presId="urn:microsoft.com/office/officeart/2005/8/layout/pyramid1"/>
    <dgm:cxn modelId="{C3E47E5D-EAB2-4B01-9CF6-2D41FA7FB199}" type="presParOf" srcId="{B4AC3DE1-33E4-4F68-9EEB-E9C1C496C4C7}" destId="{7B52BBC7-EC59-43B2-8D0A-4EE96B39E5F2}" srcOrd="1" destOrd="0" presId="urn:microsoft.com/office/officeart/2005/8/layout/pyramid1"/>
    <dgm:cxn modelId="{096A747E-2F69-4CE8-8076-6845331E8C17}" type="presParOf" srcId="{7B52BBC7-EC59-43B2-8D0A-4EE96B39E5F2}" destId="{A8A6FEEC-D6D1-479F-8335-32880D8C759E}" srcOrd="0" destOrd="0" presId="urn:microsoft.com/office/officeart/2005/8/layout/pyramid1"/>
    <dgm:cxn modelId="{D0203EAE-B302-4349-8F51-265379EC1FE4}" type="presParOf" srcId="{7B52BBC7-EC59-43B2-8D0A-4EE96B39E5F2}" destId="{B82D5F2B-0040-4094-A7BE-5A866324B075}" srcOrd="1" destOrd="0" presId="urn:microsoft.com/office/officeart/2005/8/layout/pyramid1"/>
    <dgm:cxn modelId="{977C740E-BD65-4CDB-8C2C-7E091F499C3E}" type="presParOf" srcId="{B4AC3DE1-33E4-4F68-9EEB-E9C1C496C4C7}" destId="{628A5669-6E3D-465C-831F-73876E371496}" srcOrd="2" destOrd="0" presId="urn:microsoft.com/office/officeart/2005/8/layout/pyramid1"/>
    <dgm:cxn modelId="{85A2E367-F910-41E6-B36F-E8C62065B39A}" type="presParOf" srcId="{628A5669-6E3D-465C-831F-73876E371496}" destId="{CF840211-6929-4C28-98B8-7E5D31BF6375}" srcOrd="0" destOrd="0" presId="urn:microsoft.com/office/officeart/2005/8/layout/pyramid1"/>
    <dgm:cxn modelId="{3F0DB2DF-7C03-48E5-8304-985A66CE8945}" type="presParOf" srcId="{628A5669-6E3D-465C-831F-73876E371496}" destId="{B7312A4C-4C3C-42F0-8940-D36A7D9E3C17}" srcOrd="1" destOrd="0" presId="urn:microsoft.com/office/officeart/2005/8/layout/pyramid1"/>
    <dgm:cxn modelId="{4C2E25FD-E5B8-42B7-9FEF-F0587CE8A6BD}" type="presParOf" srcId="{B4AC3DE1-33E4-4F68-9EEB-E9C1C496C4C7}" destId="{08D0A57B-D109-4115-AFD6-EA4FE1C0D65A}" srcOrd="3" destOrd="0" presId="urn:microsoft.com/office/officeart/2005/8/layout/pyramid1"/>
    <dgm:cxn modelId="{3BCB493D-8FA4-4F15-806E-0CE82AF44B61}" type="presParOf" srcId="{08D0A57B-D109-4115-AFD6-EA4FE1C0D65A}" destId="{7F7A0E67-32D4-4D4B-A8A2-24D9FA10A3B7}" srcOrd="0" destOrd="0" presId="urn:microsoft.com/office/officeart/2005/8/layout/pyramid1"/>
    <dgm:cxn modelId="{E636495B-38FA-41CB-A016-0A63F7A82DA3}" type="presParOf" srcId="{08D0A57B-D109-4115-AFD6-EA4FE1C0D65A}" destId="{D35576D1-75F2-4108-8A09-1A2369F18E10}" srcOrd="1" destOrd="0" presId="urn:microsoft.com/office/officeart/2005/8/layout/pyramid1"/>
    <dgm:cxn modelId="{63E7AF36-E94E-4408-8FC4-EDADF9EB55B7}" type="presParOf" srcId="{B4AC3DE1-33E4-4F68-9EEB-E9C1C496C4C7}" destId="{F05AB190-658C-463B-AE2B-44F5E830898A}" srcOrd="4" destOrd="0" presId="urn:microsoft.com/office/officeart/2005/8/layout/pyramid1"/>
    <dgm:cxn modelId="{7E4A9CEE-4B96-4129-B59B-C43936B8DD85}" type="presParOf" srcId="{F05AB190-658C-463B-AE2B-44F5E830898A}" destId="{23C3FC62-690E-4202-9329-2BCC6CE8F325}" srcOrd="0" destOrd="0" presId="urn:microsoft.com/office/officeart/2005/8/layout/pyramid1"/>
    <dgm:cxn modelId="{4733F682-BDF3-4F72-A089-783EC3D082F6}" type="presParOf" srcId="{F05AB190-658C-463B-AE2B-44F5E830898A}" destId="{1A6A8A2B-DE26-41E7-B4C7-B44A7A39DC2D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ACD3E8D-2E2D-4474-BB64-02F750B708D2}" type="presOf" srcId="{CC0749E6-31F7-4C9D-B494-AD9D61032896}" destId="{3C47B04F-CBBD-4ADD-A6BE-15EEB39DBB7F}" srcOrd="1" destOrd="0" presId="urn:microsoft.com/office/officeart/2005/8/layout/process2"/>
    <dgm:cxn modelId="{81241FEF-5C58-4F8A-9B6B-613E1AF7478D}" type="presOf" srcId="{2CEC1776-9DE4-48EC-8B3A-CE30A34C08A8}" destId="{44B7898F-5A22-4319-8D85-0B72C2EF45F9}" srcOrd="0" destOrd="0" presId="urn:microsoft.com/office/officeart/2005/8/layout/process2"/>
    <dgm:cxn modelId="{81E60927-C5FA-4621-B727-59C493D35326}" type="presOf" srcId="{CC0749E6-31F7-4C9D-B494-AD9D61032896}" destId="{B22BB23F-E05B-4013-81BD-85F13AFDE6D1}" srcOrd="0" destOrd="0" presId="urn:microsoft.com/office/officeart/2005/8/layout/process2"/>
    <dgm:cxn modelId="{EF282B9C-D2E1-4CFD-9C6D-27E76FB34A9F}" type="presOf" srcId="{A1FA66E9-6B47-43A9-A691-995B4B7D915F}" destId="{CD5751FF-25F1-44FE-B9E8-824DB4F14981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DBFE0FB2-5610-47F2-893E-4DDAF8AE08D6}" type="presOf" srcId="{2CEC1776-9DE4-48EC-8B3A-CE30A34C08A8}" destId="{408A314B-8D14-452B-BB30-A6CDFBC7604D}" srcOrd="1" destOrd="0" presId="urn:microsoft.com/office/officeart/2005/8/layout/process2"/>
    <dgm:cxn modelId="{764B60B3-E6CE-4DD7-A98E-38104B473E58}" type="presOf" srcId="{65ADC171-D76B-4DA2-9796-3C9108575BCF}" destId="{4FD2053B-5A77-4D34-8C66-D50B8724D81E}" srcOrd="0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FD09AC06-2ACC-48C8-B2A1-45BEF51CE8CF}" type="presOf" srcId="{E5A0750E-9076-4558-8E66-C53A1107536F}" destId="{EB198668-65DF-4501-B2F3-20013C293CC4}" srcOrd="1" destOrd="0" presId="urn:microsoft.com/office/officeart/2005/8/layout/process2"/>
    <dgm:cxn modelId="{D27F4E53-863B-4BFA-929E-516FB0D774F0}" type="presOf" srcId="{F6B57F0F-2727-4614-A7FD-35FD6FCAF6E6}" destId="{6C27A5CC-5F13-4059-9AE7-C0A63DD7EC7E}" srcOrd="0" destOrd="0" presId="urn:microsoft.com/office/officeart/2005/8/layout/process2"/>
    <dgm:cxn modelId="{C4986881-3505-4EE2-97BC-CD290092B110}" type="presOf" srcId="{2A49C2D7-12D0-4518-BC98-A3272820B530}" destId="{564A9C2A-4DC0-4B71-8BDC-7615D299EDCD}" srcOrd="0" destOrd="0" presId="urn:microsoft.com/office/officeart/2005/8/layout/process2"/>
    <dgm:cxn modelId="{37267AD0-8E6E-4298-A69A-0177642795E2}" type="presOf" srcId="{9C241770-5D57-447B-B2C6-700BC348595B}" destId="{7EF63230-6818-417B-9423-2B2909FB868A}" srcOrd="0" destOrd="0" presId="urn:microsoft.com/office/officeart/2005/8/layout/process2"/>
    <dgm:cxn modelId="{DED6CC1D-2B5F-4F2A-8F12-14C4BBEDD937}" type="presOf" srcId="{294402DA-D638-4BA1-B669-C7A658DFF56C}" destId="{2E1F2D2C-88F0-4727-80FE-ADD5804EF2B7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101D2039-6569-4F22-84A7-DE15E2050837}" type="presOf" srcId="{550E20B0-80A8-42F2-BFE2-A3961B05A02A}" destId="{3D35B79B-418E-472B-B684-1ACC0A6CC011}" srcOrd="0" destOrd="0" presId="urn:microsoft.com/office/officeart/2005/8/layout/process2"/>
    <dgm:cxn modelId="{084ED577-411B-4FB2-AE1D-17F2489FC33E}" type="presOf" srcId="{EAE0BE0B-47C3-4CD6-817F-ECFB5232CEF3}" destId="{492AF956-F719-422D-9244-7729846A0ADF}" srcOrd="0" destOrd="0" presId="urn:microsoft.com/office/officeart/2005/8/layout/process2"/>
    <dgm:cxn modelId="{5DADDAE3-FE5D-4093-9158-EEE73E248C7C}" type="presOf" srcId="{F6B57F0F-2727-4614-A7FD-35FD6FCAF6E6}" destId="{219009EE-9B51-4162-9EBA-7B83AECF4795}" srcOrd="1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F1401D1F-26DE-4A22-98A0-1FA48C1FC750}" type="presOf" srcId="{9EFE1160-C5B7-455D-AE24-A575AB41076E}" destId="{D49DFB90-1383-44F2-BB66-0887BCA7C4E5}" srcOrd="0" destOrd="0" presId="urn:microsoft.com/office/officeart/2005/8/layout/process2"/>
    <dgm:cxn modelId="{BB88F45E-9FC9-4FEC-9298-D81A47F9EF9F}" type="presOf" srcId="{2AE408E0-1AF5-4F80-BFA2-F6C645A283D4}" destId="{F9790B67-A8A7-47D4-8E75-D889EA350148}" srcOrd="0" destOrd="0" presId="urn:microsoft.com/office/officeart/2005/8/layout/process2"/>
    <dgm:cxn modelId="{9C34E633-D37F-4701-9121-F6D77027BCA4}" type="presOf" srcId="{FDFF01D2-F3CC-4D2C-A015-471198A0D6C7}" destId="{98E1D376-F99A-44C4-8AC9-E145DB47BC54}" srcOrd="1" destOrd="0" presId="urn:microsoft.com/office/officeart/2005/8/layout/process2"/>
    <dgm:cxn modelId="{4DC79FE3-D310-493B-8FD6-258202F21FA0}" type="presOf" srcId="{78DC5BE3-9B5F-4CD7-B0EC-6566CDEFFE79}" destId="{28AF62BE-D6B0-493F-B896-8629ECF24A49}" srcOrd="0" destOrd="0" presId="urn:microsoft.com/office/officeart/2005/8/layout/process2"/>
    <dgm:cxn modelId="{BDFFF62E-AAC5-4C54-BA23-D5E155D5A6F0}" type="presOf" srcId="{F7237CAD-458A-4DEE-BE25-3568BFF65879}" destId="{6C1BCA69-22CF-4F05-B914-357F6B8C02D5}" srcOrd="0" destOrd="0" presId="urn:microsoft.com/office/officeart/2005/8/layout/process2"/>
    <dgm:cxn modelId="{C3EA1C31-BC80-4182-9A49-438F3BB67B0A}" type="presOf" srcId="{1AB6682E-C77A-48CC-818B-2A7EC3934804}" destId="{76E90E60-5B19-4029-8BE8-12C0FAC09B4F}" srcOrd="0" destOrd="0" presId="urn:microsoft.com/office/officeart/2005/8/layout/process2"/>
    <dgm:cxn modelId="{639DE194-1F5D-474B-91CA-C0B20BD66BD6}" type="presOf" srcId="{F7237CAD-458A-4DEE-BE25-3568BFF65879}" destId="{ADF04F16-ABFC-4DEA-9719-FE2EDEC087DE}" srcOrd="1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17B002F9-00F2-4334-92D3-1B7EE229B645}" type="presOf" srcId="{78DC5BE3-9B5F-4CD7-B0EC-6566CDEFFE79}" destId="{D1E38222-CE22-4A67-AEEE-B8A0996FDF5D}" srcOrd="1" destOrd="0" presId="urn:microsoft.com/office/officeart/2005/8/layout/process2"/>
    <dgm:cxn modelId="{BCC9CCA6-2905-4D1B-9EF8-F7462B98B67F}" type="presOf" srcId="{E5A0750E-9076-4558-8E66-C53A1107536F}" destId="{A84114DE-6569-47D6-AD13-3BDCDD5C3236}" srcOrd="0" destOrd="0" presId="urn:microsoft.com/office/officeart/2005/8/layout/process2"/>
    <dgm:cxn modelId="{211AD65D-4907-430E-AF5E-968A794374D6}" type="presOf" srcId="{FDFF01D2-F3CC-4D2C-A015-471198A0D6C7}" destId="{0DFF998B-AB70-42CB-B86E-F2EDC6F014F8}" srcOrd="0" destOrd="0" presId="urn:microsoft.com/office/officeart/2005/8/layout/process2"/>
    <dgm:cxn modelId="{83BC34B3-9A75-49F7-8B53-EB78FC25C79D}" type="presOf" srcId="{2AE408E0-1AF5-4F80-BFA2-F6C645A283D4}" destId="{5351E9FE-A558-447E-A302-DBACA0DF592D}" srcOrd="1" destOrd="0" presId="urn:microsoft.com/office/officeart/2005/8/layout/process2"/>
    <dgm:cxn modelId="{6175E85C-5789-42DB-983B-A6A533AD44E6}" type="presOf" srcId="{E5D2D304-F13F-4199-9163-2AD87DD91923}" destId="{85F2BDF6-F9F8-41DC-9874-6F84B6C7034A}" srcOrd="0" destOrd="0" presId="urn:microsoft.com/office/officeart/2005/8/layout/process2"/>
    <dgm:cxn modelId="{1A8132CA-1514-40D4-B389-C15634F1F84A}" type="presParOf" srcId="{492AF956-F719-422D-9244-7729846A0ADF}" destId="{85F2BDF6-F9F8-41DC-9874-6F84B6C7034A}" srcOrd="0" destOrd="0" presId="urn:microsoft.com/office/officeart/2005/8/layout/process2"/>
    <dgm:cxn modelId="{C7940E25-E712-457E-B01D-9170A6B35F6C}" type="presParOf" srcId="{492AF956-F719-422D-9244-7729846A0ADF}" destId="{44B7898F-5A22-4319-8D85-0B72C2EF45F9}" srcOrd="1" destOrd="0" presId="urn:microsoft.com/office/officeart/2005/8/layout/process2"/>
    <dgm:cxn modelId="{53FCF3AC-B393-4E08-8D51-FDA0D8DA076C}" type="presParOf" srcId="{44B7898F-5A22-4319-8D85-0B72C2EF45F9}" destId="{408A314B-8D14-452B-BB30-A6CDFBC7604D}" srcOrd="0" destOrd="0" presId="urn:microsoft.com/office/officeart/2005/8/layout/process2"/>
    <dgm:cxn modelId="{159F5542-9BE3-43EC-848F-AE6298E175DF}" type="presParOf" srcId="{492AF956-F719-422D-9244-7729846A0ADF}" destId="{3D35B79B-418E-472B-B684-1ACC0A6CC011}" srcOrd="2" destOrd="0" presId="urn:microsoft.com/office/officeart/2005/8/layout/process2"/>
    <dgm:cxn modelId="{F7A6DFC7-47EF-4038-A4C9-3868AC21FE3B}" type="presParOf" srcId="{492AF956-F719-422D-9244-7729846A0ADF}" destId="{6C27A5CC-5F13-4059-9AE7-C0A63DD7EC7E}" srcOrd="3" destOrd="0" presId="urn:microsoft.com/office/officeart/2005/8/layout/process2"/>
    <dgm:cxn modelId="{F44360D4-26A3-4A78-8394-369E457D934D}" type="presParOf" srcId="{6C27A5CC-5F13-4059-9AE7-C0A63DD7EC7E}" destId="{219009EE-9B51-4162-9EBA-7B83AECF4795}" srcOrd="0" destOrd="0" presId="urn:microsoft.com/office/officeart/2005/8/layout/process2"/>
    <dgm:cxn modelId="{284F2EA7-AF6B-4E77-82FA-2EEAD0038F95}" type="presParOf" srcId="{492AF956-F719-422D-9244-7729846A0ADF}" destId="{4FD2053B-5A77-4D34-8C66-D50B8724D81E}" srcOrd="4" destOrd="0" presId="urn:microsoft.com/office/officeart/2005/8/layout/process2"/>
    <dgm:cxn modelId="{F44EFF3A-07E5-4CEF-B650-8AB4F9C698FC}" type="presParOf" srcId="{492AF956-F719-422D-9244-7729846A0ADF}" destId="{F9790B67-A8A7-47D4-8E75-D889EA350148}" srcOrd="5" destOrd="0" presId="urn:microsoft.com/office/officeart/2005/8/layout/process2"/>
    <dgm:cxn modelId="{C585DE10-7008-4870-948C-F5238013B3C8}" type="presParOf" srcId="{F9790B67-A8A7-47D4-8E75-D889EA350148}" destId="{5351E9FE-A558-447E-A302-DBACA0DF592D}" srcOrd="0" destOrd="0" presId="urn:microsoft.com/office/officeart/2005/8/layout/process2"/>
    <dgm:cxn modelId="{2007B48B-E3B3-44E5-A3ED-2A133FF3BEB2}" type="presParOf" srcId="{492AF956-F719-422D-9244-7729846A0ADF}" destId="{7EF63230-6818-417B-9423-2B2909FB868A}" srcOrd="6" destOrd="0" presId="urn:microsoft.com/office/officeart/2005/8/layout/process2"/>
    <dgm:cxn modelId="{EC1EEE08-24D9-4F06-B0D1-445ED718B030}" type="presParOf" srcId="{492AF956-F719-422D-9244-7729846A0ADF}" destId="{6C1BCA69-22CF-4F05-B914-357F6B8C02D5}" srcOrd="7" destOrd="0" presId="urn:microsoft.com/office/officeart/2005/8/layout/process2"/>
    <dgm:cxn modelId="{45B6D550-0E19-4EAB-A415-BB4BE2486FBF}" type="presParOf" srcId="{6C1BCA69-22CF-4F05-B914-357F6B8C02D5}" destId="{ADF04F16-ABFC-4DEA-9719-FE2EDEC087DE}" srcOrd="0" destOrd="0" presId="urn:microsoft.com/office/officeart/2005/8/layout/process2"/>
    <dgm:cxn modelId="{F17BB91D-F59B-47BA-AE5F-46BC45B40A6E}" type="presParOf" srcId="{492AF956-F719-422D-9244-7729846A0ADF}" destId="{564A9C2A-4DC0-4B71-8BDC-7615D299EDCD}" srcOrd="8" destOrd="0" presId="urn:microsoft.com/office/officeart/2005/8/layout/process2"/>
    <dgm:cxn modelId="{D8D2B749-E9E6-4B7B-8480-9A197A68A002}" type="presParOf" srcId="{492AF956-F719-422D-9244-7729846A0ADF}" destId="{0DFF998B-AB70-42CB-B86E-F2EDC6F014F8}" srcOrd="9" destOrd="0" presId="urn:microsoft.com/office/officeart/2005/8/layout/process2"/>
    <dgm:cxn modelId="{E6DF23CA-22E1-42B1-AD91-F408E487E3E8}" type="presParOf" srcId="{0DFF998B-AB70-42CB-B86E-F2EDC6F014F8}" destId="{98E1D376-F99A-44C4-8AC9-E145DB47BC54}" srcOrd="0" destOrd="0" presId="urn:microsoft.com/office/officeart/2005/8/layout/process2"/>
    <dgm:cxn modelId="{EFB51134-9005-420F-ACE2-51D814129088}" type="presParOf" srcId="{492AF956-F719-422D-9244-7729846A0ADF}" destId="{D49DFB90-1383-44F2-BB66-0887BCA7C4E5}" srcOrd="10" destOrd="0" presId="urn:microsoft.com/office/officeart/2005/8/layout/process2"/>
    <dgm:cxn modelId="{CBEDC754-AC3B-40B9-BBA7-F380A8ABA9D8}" type="presParOf" srcId="{492AF956-F719-422D-9244-7729846A0ADF}" destId="{B22BB23F-E05B-4013-81BD-85F13AFDE6D1}" srcOrd="11" destOrd="0" presId="urn:microsoft.com/office/officeart/2005/8/layout/process2"/>
    <dgm:cxn modelId="{95AADB09-5DAE-4194-A12C-EEEBC7812B7E}" type="presParOf" srcId="{B22BB23F-E05B-4013-81BD-85F13AFDE6D1}" destId="{3C47B04F-CBBD-4ADD-A6BE-15EEB39DBB7F}" srcOrd="0" destOrd="0" presId="urn:microsoft.com/office/officeart/2005/8/layout/process2"/>
    <dgm:cxn modelId="{328F5FB4-936F-4CDC-8C07-0F8797013BC4}" type="presParOf" srcId="{492AF956-F719-422D-9244-7729846A0ADF}" destId="{CD5751FF-25F1-44FE-B9E8-824DB4F14981}" srcOrd="12" destOrd="0" presId="urn:microsoft.com/office/officeart/2005/8/layout/process2"/>
    <dgm:cxn modelId="{A42E6A5C-992E-4B6B-83FD-B6688A8EC8AA}" type="presParOf" srcId="{492AF956-F719-422D-9244-7729846A0ADF}" destId="{28AF62BE-D6B0-493F-B896-8629ECF24A49}" srcOrd="13" destOrd="0" presId="urn:microsoft.com/office/officeart/2005/8/layout/process2"/>
    <dgm:cxn modelId="{A8FE7A03-2751-47D0-911A-D5ACA2452707}" type="presParOf" srcId="{28AF62BE-D6B0-493F-B896-8629ECF24A49}" destId="{D1E38222-CE22-4A67-AEEE-B8A0996FDF5D}" srcOrd="0" destOrd="0" presId="urn:microsoft.com/office/officeart/2005/8/layout/process2"/>
    <dgm:cxn modelId="{1A888D11-0FFE-4E09-9DF3-4716283541E7}" type="presParOf" srcId="{492AF956-F719-422D-9244-7729846A0ADF}" destId="{76E90E60-5B19-4029-8BE8-12C0FAC09B4F}" srcOrd="14" destOrd="0" presId="urn:microsoft.com/office/officeart/2005/8/layout/process2"/>
    <dgm:cxn modelId="{BD8D4E8D-0067-4E48-BFDB-079FE740584A}" type="presParOf" srcId="{492AF956-F719-422D-9244-7729846A0ADF}" destId="{A84114DE-6569-47D6-AD13-3BDCDD5C3236}" srcOrd="15" destOrd="0" presId="urn:microsoft.com/office/officeart/2005/8/layout/process2"/>
    <dgm:cxn modelId="{31E930CF-F2D1-4241-9526-9F4848FC0E54}" type="presParOf" srcId="{A84114DE-6569-47D6-AD13-3BDCDD5C3236}" destId="{EB198668-65DF-4501-B2F3-20013C293CC4}" srcOrd="0" destOrd="0" presId="urn:microsoft.com/office/officeart/2005/8/layout/process2"/>
    <dgm:cxn modelId="{62B2D073-56E4-484F-80CD-B50E7DE43330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7F060D64-AD48-468A-B047-E937AEFB8B77}" type="doc">
      <dgm:prSet loTypeId="urn:microsoft.com/office/officeart/2005/8/layout/cycle6" loCatId="cycle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EE649EB-46A8-4263-B515-08A3E76B9DBF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gm:spPr>
      <dgm:t>
        <a:bodyPr/>
        <a:lstStyle/>
        <a:p>
          <a:r>
            <a:rPr lang="fr-FR" sz="14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Délimiter clairement le cadre</a:t>
          </a:r>
          <a:endParaRPr lang="fr-FR" sz="14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4C441FDD-CAD2-47B6-A2A7-BAFD0E43BD16}" type="parTrans" cxnId="{78D3BBD9-8114-43AA-93EC-CD4E1D543C8A}">
      <dgm:prSet/>
      <dgm:spPr/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B890573B-CA99-42C5-B693-AB3C2CC8089B}" type="sibTrans" cxnId="{78D3BBD9-8114-43AA-93EC-CD4E1D543C8A}">
      <dgm:prSet/>
      <dgm:spPr>
        <a:scene3d>
          <a:camera prst="orthographicFront"/>
          <a:lightRig rig="threePt" dir="t">
            <a:rot lat="0" lon="0" rev="7500000"/>
          </a:lightRig>
        </a:scene3d>
      </dgm:spPr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D58CF88D-5C89-43F8-BDF5-DFE73C78F60F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gm:spPr>
      <dgm:t>
        <a:bodyPr/>
        <a:lstStyle/>
        <a:p>
          <a:r>
            <a:rPr lang="fr-FR" sz="14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Conjuguer non-jugement, authenticité et confiance</a:t>
          </a:r>
          <a:endParaRPr lang="fr-FR" sz="14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5AC20B03-F843-4BA4-86E5-FDC630498E65}" type="parTrans" cxnId="{95518597-3FB4-4255-BD17-2083AA51EE74}">
      <dgm:prSet/>
      <dgm:spPr/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AD70A377-49B4-445A-8ABD-CEF7DB5204AB}" type="sibTrans" cxnId="{95518597-3FB4-4255-BD17-2083AA51EE74}">
      <dgm:prSet/>
      <dgm:spPr>
        <a:scene3d>
          <a:camera prst="orthographicFront"/>
          <a:lightRig rig="threePt" dir="t">
            <a:rot lat="0" lon="0" rev="7500000"/>
          </a:lightRig>
        </a:scene3d>
      </dgm:spPr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F7BA94D8-8088-4F98-AE7A-8B71749B3C78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gm:spPr>
      <dgm:t>
        <a:bodyPr/>
        <a:lstStyle/>
        <a:p>
          <a:r>
            <a:rPr lang="fr-FR" sz="14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Métacommuniquer</a:t>
          </a:r>
          <a:endParaRPr lang="fr-FR" sz="14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CA3F13A1-90A6-4A83-BB75-7EC592249BAD}" type="parTrans" cxnId="{05C69106-1339-46ED-956C-63D7E11AB42F}">
      <dgm:prSet/>
      <dgm:spPr/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7F4F94B2-BFDE-4F4A-8BC9-ADB5231A99A1}" type="sibTrans" cxnId="{05C69106-1339-46ED-956C-63D7E11AB42F}">
      <dgm:prSet/>
      <dgm:spPr>
        <a:scene3d>
          <a:camera prst="orthographicFront"/>
          <a:lightRig rig="threePt" dir="t">
            <a:rot lat="0" lon="0" rev="7500000"/>
          </a:lightRig>
        </a:scene3d>
      </dgm:spPr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1D83D5AD-14C9-48F8-9BEB-6CC0EF328C5E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gm:spPr>
      <dgm:t>
        <a:bodyPr/>
        <a:lstStyle/>
        <a:p>
          <a:r>
            <a:rPr lang="fr-FR" sz="14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Conjuguer pouvoir du manager et la neutralité du coach</a:t>
          </a:r>
          <a:endParaRPr lang="fr-FR" sz="14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5948AB41-A0E5-4E56-ABC6-A70A26B645C3}" type="parTrans" cxnId="{639FE31B-EF5F-4FF4-8CA2-642782E29D0E}">
      <dgm:prSet/>
      <dgm:spPr/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1BF8F89E-65E9-4D74-9C8E-C44B5DAC1022}" type="sibTrans" cxnId="{639FE31B-EF5F-4FF4-8CA2-642782E29D0E}">
      <dgm:prSet/>
      <dgm:spPr>
        <a:scene3d>
          <a:camera prst="orthographicFront"/>
          <a:lightRig rig="threePt" dir="t">
            <a:rot lat="0" lon="0" rev="7500000"/>
          </a:lightRig>
        </a:scene3d>
      </dgm:spPr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0EE5ED9D-F4C9-47E9-AE64-A8007FCC5561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gm:spPr>
      <dgm:t>
        <a:bodyPr/>
        <a:lstStyle/>
        <a:p>
          <a:r>
            <a:rPr lang="fr-FR" sz="14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Ne pas se projeter dans la situation du collaborateur coaché</a:t>
          </a:r>
          <a:endParaRPr lang="fr-FR" sz="14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C2E99E35-4FA5-4D0E-BB70-DE097DDE249E}" type="parTrans" cxnId="{7E0E19D7-716C-4989-A968-05FFA765EFD5}">
      <dgm:prSet/>
      <dgm:spPr/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21951077-59E3-48C2-8AAD-F19D94EA20BE}" type="sibTrans" cxnId="{7E0E19D7-716C-4989-A968-05FFA765EFD5}">
      <dgm:prSet/>
      <dgm:spPr>
        <a:scene3d>
          <a:camera prst="orthographicFront"/>
          <a:lightRig rig="threePt" dir="t">
            <a:rot lat="0" lon="0" rev="7500000"/>
          </a:lightRig>
        </a:scene3d>
      </dgm:spPr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E098B279-8EE4-428D-85C3-CC5A65CB702B}">
      <dgm:prSet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gm:spPr>
      <dgm:t>
        <a:bodyPr/>
        <a:lstStyle/>
        <a:p>
          <a:r>
            <a:rPr lang="fr-FR" sz="14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Développement de la « congruence »</a:t>
          </a:r>
          <a:endParaRPr lang="fr-FR" sz="14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6183F488-CFC7-4C52-9587-83A6D43E7DD2}" type="parTrans" cxnId="{D7520925-0C08-40A4-90F3-9AA08EB3DBC0}">
      <dgm:prSet/>
      <dgm:spPr/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005D8919-D864-410B-988A-9D34182D875A}" type="sibTrans" cxnId="{D7520925-0C08-40A4-90F3-9AA08EB3DBC0}">
      <dgm:prSet/>
      <dgm:spPr>
        <a:scene3d>
          <a:camera prst="orthographicFront"/>
          <a:lightRig rig="threePt" dir="t">
            <a:rot lat="0" lon="0" rev="7500000"/>
          </a:lightRig>
        </a:scene3d>
      </dgm:spPr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B45AA10E-58C1-4E5B-8438-7CB418F56410}">
      <dgm:prSet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gm:spPr>
      <dgm:t>
        <a:bodyPr/>
        <a:lstStyle/>
        <a:p>
          <a:r>
            <a:rPr lang="fr-FR" sz="14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Toujours croire en l’autre</a:t>
          </a:r>
          <a:endParaRPr lang="fr-FR" sz="14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E491E3FD-0D7D-4D72-B483-A6390C2A4FE2}" type="parTrans" cxnId="{6DFF7678-86B0-448A-8F0A-27AE80D1B5D6}">
      <dgm:prSet/>
      <dgm:spPr/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BD0BB0CA-E421-4E4E-8146-CD4B418C0819}" type="sibTrans" cxnId="{6DFF7678-86B0-448A-8F0A-27AE80D1B5D6}">
      <dgm:prSet/>
      <dgm:spPr>
        <a:scene3d>
          <a:camera prst="orthographicFront"/>
          <a:lightRig rig="threePt" dir="t">
            <a:rot lat="0" lon="0" rev="7500000"/>
          </a:lightRig>
        </a:scene3d>
      </dgm:spPr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F3501BB1-4466-4A7B-9853-0A35803A4800}">
      <dgm:prSet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gm:spPr>
      <dgm:t>
        <a:bodyPr/>
        <a:lstStyle/>
        <a:p>
          <a:r>
            <a:rPr lang="fr-FR" sz="1400" b="1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Utiliser des métaphores porteuses de sens</a:t>
          </a:r>
          <a:endParaRPr lang="fr-FR" sz="1400" b="1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5D3DF319-F49E-4309-B06A-90E1A561C3DF}" type="parTrans" cxnId="{4C4E0EC9-4E35-4EB2-9D08-1E03FE4303CB}">
      <dgm:prSet/>
      <dgm:spPr/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8F1E364E-B866-478F-B98B-592F7B417F73}" type="sibTrans" cxnId="{4C4E0EC9-4E35-4EB2-9D08-1E03FE4303CB}">
      <dgm:prSet/>
      <dgm:spPr>
        <a:scene3d>
          <a:camera prst="orthographicFront"/>
          <a:lightRig rig="threePt" dir="t">
            <a:rot lat="0" lon="0" rev="7500000"/>
          </a:lightRig>
        </a:scene3d>
      </dgm:spPr>
      <dgm:t>
        <a:bodyPr/>
        <a:lstStyle/>
        <a:p>
          <a:endParaRPr lang="fr-FR" sz="2000">
            <a:latin typeface="Gill Sans" panose="020B0604020202020204"/>
          </a:endParaRPr>
        </a:p>
      </dgm:t>
    </dgm:pt>
    <dgm:pt modelId="{4329FDAF-04C7-4DA9-B787-858204E50155}" type="pres">
      <dgm:prSet presAssocID="{7F060D64-AD48-468A-B047-E937AEFB8B77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C62B2B0-0747-4933-8FBB-E8FCF5AA43A8}" type="pres">
      <dgm:prSet presAssocID="{FEE649EB-46A8-4263-B515-08A3E76B9DBF}" presName="node" presStyleLbl="node1" presStyleIdx="0" presStyleCnt="8" custScaleX="222995" custScaleY="1500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7CC2E7A-BAD5-4FBC-9932-62EC8A8111BD}" type="pres">
      <dgm:prSet presAssocID="{FEE649EB-46A8-4263-B515-08A3E76B9DBF}" presName="spNode" presStyleCnt="0"/>
      <dgm:spPr/>
      <dgm:t>
        <a:bodyPr/>
        <a:lstStyle/>
        <a:p>
          <a:endParaRPr lang="fr-FR"/>
        </a:p>
      </dgm:t>
    </dgm:pt>
    <dgm:pt modelId="{A01AE0AA-F672-4A4A-BA65-909035A25D47}" type="pres">
      <dgm:prSet presAssocID="{B890573B-CA99-42C5-B693-AB3C2CC8089B}" presName="sibTrans" presStyleLbl="sibTrans1D1" presStyleIdx="0" presStyleCnt="8"/>
      <dgm:spPr/>
      <dgm:t>
        <a:bodyPr/>
        <a:lstStyle/>
        <a:p>
          <a:endParaRPr lang="fr-FR"/>
        </a:p>
      </dgm:t>
    </dgm:pt>
    <dgm:pt modelId="{CF251DA1-64BD-4AE6-91FE-59EE17A20679}" type="pres">
      <dgm:prSet presAssocID="{D58CF88D-5C89-43F8-BDF5-DFE73C78F60F}" presName="node" presStyleLbl="node1" presStyleIdx="1" presStyleCnt="8" custScaleX="222995" custScaleY="1500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EE012E2-9037-4783-BEC3-6DC5DA6E4C4B}" type="pres">
      <dgm:prSet presAssocID="{D58CF88D-5C89-43F8-BDF5-DFE73C78F60F}" presName="spNode" presStyleCnt="0"/>
      <dgm:spPr/>
      <dgm:t>
        <a:bodyPr/>
        <a:lstStyle/>
        <a:p>
          <a:endParaRPr lang="fr-FR"/>
        </a:p>
      </dgm:t>
    </dgm:pt>
    <dgm:pt modelId="{0503D209-15D6-45DB-BF3C-F683BB9BC413}" type="pres">
      <dgm:prSet presAssocID="{AD70A377-49B4-445A-8ABD-CEF7DB5204AB}" presName="sibTrans" presStyleLbl="sibTrans1D1" presStyleIdx="1" presStyleCnt="8"/>
      <dgm:spPr/>
      <dgm:t>
        <a:bodyPr/>
        <a:lstStyle/>
        <a:p>
          <a:endParaRPr lang="fr-FR"/>
        </a:p>
      </dgm:t>
    </dgm:pt>
    <dgm:pt modelId="{C4A1AFDE-0D43-42BC-8F79-ED8350411E91}" type="pres">
      <dgm:prSet presAssocID="{E098B279-8EE4-428D-85C3-CC5A65CB702B}" presName="node" presStyleLbl="node1" presStyleIdx="2" presStyleCnt="8" custScaleX="222995" custScaleY="1500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D6EFEB7-6983-4A5B-AC45-0543E623B32B}" type="pres">
      <dgm:prSet presAssocID="{E098B279-8EE4-428D-85C3-CC5A65CB702B}" presName="spNode" presStyleCnt="0"/>
      <dgm:spPr/>
      <dgm:t>
        <a:bodyPr/>
        <a:lstStyle/>
        <a:p>
          <a:endParaRPr lang="fr-FR"/>
        </a:p>
      </dgm:t>
    </dgm:pt>
    <dgm:pt modelId="{CF378C20-ACB2-4FEA-8616-0CC75E8DFD24}" type="pres">
      <dgm:prSet presAssocID="{005D8919-D864-410B-988A-9D34182D875A}" presName="sibTrans" presStyleLbl="sibTrans1D1" presStyleIdx="2" presStyleCnt="8"/>
      <dgm:spPr/>
      <dgm:t>
        <a:bodyPr/>
        <a:lstStyle/>
        <a:p>
          <a:endParaRPr lang="fr-FR"/>
        </a:p>
      </dgm:t>
    </dgm:pt>
    <dgm:pt modelId="{27EE6E1F-366B-4DBB-99A1-8983A31A794F}" type="pres">
      <dgm:prSet presAssocID="{B45AA10E-58C1-4E5B-8438-7CB418F56410}" presName="node" presStyleLbl="node1" presStyleIdx="3" presStyleCnt="8" custScaleX="222995" custScaleY="1500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538E603-CE2E-40CF-98ED-0FA7294FFE17}" type="pres">
      <dgm:prSet presAssocID="{B45AA10E-58C1-4E5B-8438-7CB418F56410}" presName="spNode" presStyleCnt="0"/>
      <dgm:spPr/>
      <dgm:t>
        <a:bodyPr/>
        <a:lstStyle/>
        <a:p>
          <a:endParaRPr lang="fr-FR"/>
        </a:p>
      </dgm:t>
    </dgm:pt>
    <dgm:pt modelId="{D7C0855D-1C61-446F-9A41-5BE225A20DF1}" type="pres">
      <dgm:prSet presAssocID="{BD0BB0CA-E421-4E4E-8146-CD4B418C0819}" presName="sibTrans" presStyleLbl="sibTrans1D1" presStyleIdx="3" presStyleCnt="8"/>
      <dgm:spPr/>
      <dgm:t>
        <a:bodyPr/>
        <a:lstStyle/>
        <a:p>
          <a:endParaRPr lang="fr-FR"/>
        </a:p>
      </dgm:t>
    </dgm:pt>
    <dgm:pt modelId="{D3B697EE-5965-4C7C-8FB9-A311B4FB31BE}" type="pres">
      <dgm:prSet presAssocID="{F7BA94D8-8088-4F98-AE7A-8B71749B3C78}" presName="node" presStyleLbl="node1" presStyleIdx="4" presStyleCnt="8" custScaleX="222995" custScaleY="1500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3701AE3-EB44-4072-B99E-DB7AEF47EB9C}" type="pres">
      <dgm:prSet presAssocID="{F7BA94D8-8088-4F98-AE7A-8B71749B3C78}" presName="spNode" presStyleCnt="0"/>
      <dgm:spPr/>
      <dgm:t>
        <a:bodyPr/>
        <a:lstStyle/>
        <a:p>
          <a:endParaRPr lang="fr-FR"/>
        </a:p>
      </dgm:t>
    </dgm:pt>
    <dgm:pt modelId="{2F381078-0B97-4D7D-BBDF-1101CD6C10E3}" type="pres">
      <dgm:prSet presAssocID="{7F4F94B2-BFDE-4F4A-8BC9-ADB5231A99A1}" presName="sibTrans" presStyleLbl="sibTrans1D1" presStyleIdx="4" presStyleCnt="8"/>
      <dgm:spPr/>
      <dgm:t>
        <a:bodyPr/>
        <a:lstStyle/>
        <a:p>
          <a:endParaRPr lang="fr-FR"/>
        </a:p>
      </dgm:t>
    </dgm:pt>
    <dgm:pt modelId="{1233A021-E04C-47C8-838C-EF93DCF6032C}" type="pres">
      <dgm:prSet presAssocID="{1D83D5AD-14C9-48F8-9BEB-6CC0EF328C5E}" presName="node" presStyleLbl="node1" presStyleIdx="5" presStyleCnt="8" custScaleX="222995" custScaleY="1500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52A648-B026-46F1-9CF1-2BCDB2AA0762}" type="pres">
      <dgm:prSet presAssocID="{1D83D5AD-14C9-48F8-9BEB-6CC0EF328C5E}" presName="spNode" presStyleCnt="0"/>
      <dgm:spPr/>
      <dgm:t>
        <a:bodyPr/>
        <a:lstStyle/>
        <a:p>
          <a:endParaRPr lang="fr-FR"/>
        </a:p>
      </dgm:t>
    </dgm:pt>
    <dgm:pt modelId="{6328905C-0D8D-4187-B1F0-12E92D9EFD9A}" type="pres">
      <dgm:prSet presAssocID="{1BF8F89E-65E9-4D74-9C8E-C44B5DAC1022}" presName="sibTrans" presStyleLbl="sibTrans1D1" presStyleIdx="5" presStyleCnt="8"/>
      <dgm:spPr/>
      <dgm:t>
        <a:bodyPr/>
        <a:lstStyle/>
        <a:p>
          <a:endParaRPr lang="fr-FR"/>
        </a:p>
      </dgm:t>
    </dgm:pt>
    <dgm:pt modelId="{8F826FD3-70F9-4076-9874-F7B6F42D8A74}" type="pres">
      <dgm:prSet presAssocID="{0EE5ED9D-F4C9-47E9-AE64-A8007FCC5561}" presName="node" presStyleLbl="node1" presStyleIdx="6" presStyleCnt="8" custScaleX="222995" custScaleY="1500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E99F664-325E-45EE-9E4E-154E3EA51594}" type="pres">
      <dgm:prSet presAssocID="{0EE5ED9D-F4C9-47E9-AE64-A8007FCC5561}" presName="spNode" presStyleCnt="0"/>
      <dgm:spPr/>
      <dgm:t>
        <a:bodyPr/>
        <a:lstStyle/>
        <a:p>
          <a:endParaRPr lang="fr-FR"/>
        </a:p>
      </dgm:t>
    </dgm:pt>
    <dgm:pt modelId="{6915A387-FB67-47FF-AA9D-369A6C754C8B}" type="pres">
      <dgm:prSet presAssocID="{21951077-59E3-48C2-8AAD-F19D94EA20BE}" presName="sibTrans" presStyleLbl="sibTrans1D1" presStyleIdx="6" presStyleCnt="8"/>
      <dgm:spPr/>
      <dgm:t>
        <a:bodyPr/>
        <a:lstStyle/>
        <a:p>
          <a:endParaRPr lang="fr-FR"/>
        </a:p>
      </dgm:t>
    </dgm:pt>
    <dgm:pt modelId="{8E243023-35AA-4930-BFBF-673DE24875C8}" type="pres">
      <dgm:prSet presAssocID="{F3501BB1-4466-4A7B-9853-0A35803A4800}" presName="node" presStyleLbl="node1" presStyleIdx="7" presStyleCnt="8" custScaleX="222995" custScaleY="15003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A4CCB4A-DE6B-4206-AA07-7E200AB34B63}" type="pres">
      <dgm:prSet presAssocID="{F3501BB1-4466-4A7B-9853-0A35803A4800}" presName="spNode" presStyleCnt="0"/>
      <dgm:spPr/>
      <dgm:t>
        <a:bodyPr/>
        <a:lstStyle/>
        <a:p>
          <a:endParaRPr lang="fr-FR"/>
        </a:p>
      </dgm:t>
    </dgm:pt>
    <dgm:pt modelId="{AA9EF83E-4900-42A0-A71C-B3135CBB89D4}" type="pres">
      <dgm:prSet presAssocID="{8F1E364E-B866-478F-B98B-592F7B417F73}" presName="sibTrans" presStyleLbl="sibTrans1D1" presStyleIdx="7" presStyleCnt="8"/>
      <dgm:spPr/>
      <dgm:t>
        <a:bodyPr/>
        <a:lstStyle/>
        <a:p>
          <a:endParaRPr lang="fr-FR"/>
        </a:p>
      </dgm:t>
    </dgm:pt>
  </dgm:ptLst>
  <dgm:cxnLst>
    <dgm:cxn modelId="{1EB752DE-3400-4241-9AC3-FC92617F712E}" type="presOf" srcId="{AD70A377-49B4-445A-8ABD-CEF7DB5204AB}" destId="{0503D209-15D6-45DB-BF3C-F683BB9BC413}" srcOrd="0" destOrd="0" presId="urn:microsoft.com/office/officeart/2005/8/layout/cycle6"/>
    <dgm:cxn modelId="{EE55311A-3996-4A3D-8401-EBE4F57A0EEC}" type="presOf" srcId="{F3501BB1-4466-4A7B-9853-0A35803A4800}" destId="{8E243023-35AA-4930-BFBF-673DE24875C8}" srcOrd="0" destOrd="0" presId="urn:microsoft.com/office/officeart/2005/8/layout/cycle6"/>
    <dgm:cxn modelId="{D7520925-0C08-40A4-90F3-9AA08EB3DBC0}" srcId="{7F060D64-AD48-468A-B047-E937AEFB8B77}" destId="{E098B279-8EE4-428D-85C3-CC5A65CB702B}" srcOrd="2" destOrd="0" parTransId="{6183F488-CFC7-4C52-9587-83A6D43E7DD2}" sibTransId="{005D8919-D864-410B-988A-9D34182D875A}"/>
    <dgm:cxn modelId="{A63B04B6-3E01-4AFD-A191-97350C0DF439}" type="presOf" srcId="{E098B279-8EE4-428D-85C3-CC5A65CB702B}" destId="{C4A1AFDE-0D43-42BC-8F79-ED8350411E91}" srcOrd="0" destOrd="0" presId="urn:microsoft.com/office/officeart/2005/8/layout/cycle6"/>
    <dgm:cxn modelId="{34049F5A-FF50-4927-BB97-7B07FB5AC05B}" type="presOf" srcId="{B890573B-CA99-42C5-B693-AB3C2CC8089B}" destId="{A01AE0AA-F672-4A4A-BA65-909035A25D47}" srcOrd="0" destOrd="0" presId="urn:microsoft.com/office/officeart/2005/8/layout/cycle6"/>
    <dgm:cxn modelId="{78D3BBD9-8114-43AA-93EC-CD4E1D543C8A}" srcId="{7F060D64-AD48-468A-B047-E937AEFB8B77}" destId="{FEE649EB-46A8-4263-B515-08A3E76B9DBF}" srcOrd="0" destOrd="0" parTransId="{4C441FDD-CAD2-47B6-A2A7-BAFD0E43BD16}" sibTransId="{B890573B-CA99-42C5-B693-AB3C2CC8089B}"/>
    <dgm:cxn modelId="{0A0CB899-36E3-42E7-8278-2927023F434D}" type="presOf" srcId="{8F1E364E-B866-478F-B98B-592F7B417F73}" destId="{AA9EF83E-4900-42A0-A71C-B3135CBB89D4}" srcOrd="0" destOrd="0" presId="urn:microsoft.com/office/officeart/2005/8/layout/cycle6"/>
    <dgm:cxn modelId="{38B97A3B-FB6B-428E-A9F4-6F20A7C58C9B}" type="presOf" srcId="{F7BA94D8-8088-4F98-AE7A-8B71749B3C78}" destId="{D3B697EE-5965-4C7C-8FB9-A311B4FB31BE}" srcOrd="0" destOrd="0" presId="urn:microsoft.com/office/officeart/2005/8/layout/cycle6"/>
    <dgm:cxn modelId="{05C69106-1339-46ED-956C-63D7E11AB42F}" srcId="{7F060D64-AD48-468A-B047-E937AEFB8B77}" destId="{F7BA94D8-8088-4F98-AE7A-8B71749B3C78}" srcOrd="4" destOrd="0" parTransId="{CA3F13A1-90A6-4A83-BB75-7EC592249BAD}" sibTransId="{7F4F94B2-BFDE-4F4A-8BC9-ADB5231A99A1}"/>
    <dgm:cxn modelId="{59418B34-FE1D-43D8-9300-9F365EFC2FFA}" type="presOf" srcId="{BD0BB0CA-E421-4E4E-8146-CD4B418C0819}" destId="{D7C0855D-1C61-446F-9A41-5BE225A20DF1}" srcOrd="0" destOrd="0" presId="urn:microsoft.com/office/officeart/2005/8/layout/cycle6"/>
    <dgm:cxn modelId="{A3D26C42-065E-4C07-AEE4-21A972017917}" type="presOf" srcId="{7F060D64-AD48-468A-B047-E937AEFB8B77}" destId="{4329FDAF-04C7-4DA9-B787-858204E50155}" srcOrd="0" destOrd="0" presId="urn:microsoft.com/office/officeart/2005/8/layout/cycle6"/>
    <dgm:cxn modelId="{D14239A6-EEA6-4F71-ADBA-BF5AAC659357}" type="presOf" srcId="{1BF8F89E-65E9-4D74-9C8E-C44B5DAC1022}" destId="{6328905C-0D8D-4187-B1F0-12E92D9EFD9A}" srcOrd="0" destOrd="0" presId="urn:microsoft.com/office/officeart/2005/8/layout/cycle6"/>
    <dgm:cxn modelId="{EE9A13D5-2261-4629-8B52-78DE868DFC05}" type="presOf" srcId="{D58CF88D-5C89-43F8-BDF5-DFE73C78F60F}" destId="{CF251DA1-64BD-4AE6-91FE-59EE17A20679}" srcOrd="0" destOrd="0" presId="urn:microsoft.com/office/officeart/2005/8/layout/cycle6"/>
    <dgm:cxn modelId="{639FE31B-EF5F-4FF4-8CA2-642782E29D0E}" srcId="{7F060D64-AD48-468A-B047-E937AEFB8B77}" destId="{1D83D5AD-14C9-48F8-9BEB-6CC0EF328C5E}" srcOrd="5" destOrd="0" parTransId="{5948AB41-A0E5-4E56-ABC6-A70A26B645C3}" sibTransId="{1BF8F89E-65E9-4D74-9C8E-C44B5DAC1022}"/>
    <dgm:cxn modelId="{9B8D3F83-FFC2-42DC-A1B9-D03ECE51A632}" type="presOf" srcId="{1D83D5AD-14C9-48F8-9BEB-6CC0EF328C5E}" destId="{1233A021-E04C-47C8-838C-EF93DCF6032C}" srcOrd="0" destOrd="0" presId="urn:microsoft.com/office/officeart/2005/8/layout/cycle6"/>
    <dgm:cxn modelId="{4C4E0EC9-4E35-4EB2-9D08-1E03FE4303CB}" srcId="{7F060D64-AD48-468A-B047-E937AEFB8B77}" destId="{F3501BB1-4466-4A7B-9853-0A35803A4800}" srcOrd="7" destOrd="0" parTransId="{5D3DF319-F49E-4309-B06A-90E1A561C3DF}" sibTransId="{8F1E364E-B866-478F-B98B-592F7B417F73}"/>
    <dgm:cxn modelId="{7E0E19D7-716C-4989-A968-05FFA765EFD5}" srcId="{7F060D64-AD48-468A-B047-E937AEFB8B77}" destId="{0EE5ED9D-F4C9-47E9-AE64-A8007FCC5561}" srcOrd="6" destOrd="0" parTransId="{C2E99E35-4FA5-4D0E-BB70-DE097DDE249E}" sibTransId="{21951077-59E3-48C2-8AAD-F19D94EA20BE}"/>
    <dgm:cxn modelId="{5ABD33EC-F409-4A0B-9CB0-D04850887D81}" type="presOf" srcId="{FEE649EB-46A8-4263-B515-08A3E76B9DBF}" destId="{CC62B2B0-0747-4933-8FBB-E8FCF5AA43A8}" srcOrd="0" destOrd="0" presId="urn:microsoft.com/office/officeart/2005/8/layout/cycle6"/>
    <dgm:cxn modelId="{DD17DDF0-8834-4E4A-A317-A35FDB6BFDAD}" type="presOf" srcId="{7F4F94B2-BFDE-4F4A-8BC9-ADB5231A99A1}" destId="{2F381078-0B97-4D7D-BBDF-1101CD6C10E3}" srcOrd="0" destOrd="0" presId="urn:microsoft.com/office/officeart/2005/8/layout/cycle6"/>
    <dgm:cxn modelId="{887ADC5B-219E-4811-8F91-925344AE1D20}" type="presOf" srcId="{005D8919-D864-410B-988A-9D34182D875A}" destId="{CF378C20-ACB2-4FEA-8616-0CC75E8DFD24}" srcOrd="0" destOrd="0" presId="urn:microsoft.com/office/officeart/2005/8/layout/cycle6"/>
    <dgm:cxn modelId="{95518597-3FB4-4255-BD17-2083AA51EE74}" srcId="{7F060D64-AD48-468A-B047-E937AEFB8B77}" destId="{D58CF88D-5C89-43F8-BDF5-DFE73C78F60F}" srcOrd="1" destOrd="0" parTransId="{5AC20B03-F843-4BA4-86E5-FDC630498E65}" sibTransId="{AD70A377-49B4-445A-8ABD-CEF7DB5204AB}"/>
    <dgm:cxn modelId="{73725EE5-57C2-41D4-BD24-62C9606FEB26}" type="presOf" srcId="{B45AA10E-58C1-4E5B-8438-7CB418F56410}" destId="{27EE6E1F-366B-4DBB-99A1-8983A31A794F}" srcOrd="0" destOrd="0" presId="urn:microsoft.com/office/officeart/2005/8/layout/cycle6"/>
    <dgm:cxn modelId="{189C5DF1-F791-465B-BAC7-39F8CA017851}" type="presOf" srcId="{21951077-59E3-48C2-8AAD-F19D94EA20BE}" destId="{6915A387-FB67-47FF-AA9D-369A6C754C8B}" srcOrd="0" destOrd="0" presId="urn:microsoft.com/office/officeart/2005/8/layout/cycle6"/>
    <dgm:cxn modelId="{6DFF7678-86B0-448A-8F0A-27AE80D1B5D6}" srcId="{7F060D64-AD48-468A-B047-E937AEFB8B77}" destId="{B45AA10E-58C1-4E5B-8438-7CB418F56410}" srcOrd="3" destOrd="0" parTransId="{E491E3FD-0D7D-4D72-B483-A6390C2A4FE2}" sibTransId="{BD0BB0CA-E421-4E4E-8146-CD4B418C0819}"/>
    <dgm:cxn modelId="{B3C86319-5BD6-4B02-AF45-B4B7B9740E2D}" type="presOf" srcId="{0EE5ED9D-F4C9-47E9-AE64-A8007FCC5561}" destId="{8F826FD3-70F9-4076-9874-F7B6F42D8A74}" srcOrd="0" destOrd="0" presId="urn:microsoft.com/office/officeart/2005/8/layout/cycle6"/>
    <dgm:cxn modelId="{4D1A1532-20F0-42A6-927B-8F38FEA7DFF1}" type="presParOf" srcId="{4329FDAF-04C7-4DA9-B787-858204E50155}" destId="{CC62B2B0-0747-4933-8FBB-E8FCF5AA43A8}" srcOrd="0" destOrd="0" presId="urn:microsoft.com/office/officeart/2005/8/layout/cycle6"/>
    <dgm:cxn modelId="{043D00BD-69AE-4160-AE60-9922FCEC2BF2}" type="presParOf" srcId="{4329FDAF-04C7-4DA9-B787-858204E50155}" destId="{87CC2E7A-BAD5-4FBC-9932-62EC8A8111BD}" srcOrd="1" destOrd="0" presId="urn:microsoft.com/office/officeart/2005/8/layout/cycle6"/>
    <dgm:cxn modelId="{B2159528-7539-484A-84B8-29846E04E90C}" type="presParOf" srcId="{4329FDAF-04C7-4DA9-B787-858204E50155}" destId="{A01AE0AA-F672-4A4A-BA65-909035A25D47}" srcOrd="2" destOrd="0" presId="urn:microsoft.com/office/officeart/2005/8/layout/cycle6"/>
    <dgm:cxn modelId="{5C737AFA-F164-442D-B0D9-872CDE10E448}" type="presParOf" srcId="{4329FDAF-04C7-4DA9-B787-858204E50155}" destId="{CF251DA1-64BD-4AE6-91FE-59EE17A20679}" srcOrd="3" destOrd="0" presId="urn:microsoft.com/office/officeart/2005/8/layout/cycle6"/>
    <dgm:cxn modelId="{D6B85562-DEAE-405C-890B-A13730D31941}" type="presParOf" srcId="{4329FDAF-04C7-4DA9-B787-858204E50155}" destId="{FEE012E2-9037-4783-BEC3-6DC5DA6E4C4B}" srcOrd="4" destOrd="0" presId="urn:microsoft.com/office/officeart/2005/8/layout/cycle6"/>
    <dgm:cxn modelId="{7145896A-D05B-4DF8-8DE1-E8BDF39AE9C0}" type="presParOf" srcId="{4329FDAF-04C7-4DA9-B787-858204E50155}" destId="{0503D209-15D6-45DB-BF3C-F683BB9BC413}" srcOrd="5" destOrd="0" presId="urn:microsoft.com/office/officeart/2005/8/layout/cycle6"/>
    <dgm:cxn modelId="{3DDA573C-8A6C-4AB0-B0A3-073CCF7747DC}" type="presParOf" srcId="{4329FDAF-04C7-4DA9-B787-858204E50155}" destId="{C4A1AFDE-0D43-42BC-8F79-ED8350411E91}" srcOrd="6" destOrd="0" presId="urn:microsoft.com/office/officeart/2005/8/layout/cycle6"/>
    <dgm:cxn modelId="{46A4BCEF-FD31-4946-8FC8-C486DAE2C852}" type="presParOf" srcId="{4329FDAF-04C7-4DA9-B787-858204E50155}" destId="{1D6EFEB7-6983-4A5B-AC45-0543E623B32B}" srcOrd="7" destOrd="0" presId="urn:microsoft.com/office/officeart/2005/8/layout/cycle6"/>
    <dgm:cxn modelId="{1B3E78BB-9988-4DA6-A022-5E2FD4FBBDFF}" type="presParOf" srcId="{4329FDAF-04C7-4DA9-B787-858204E50155}" destId="{CF378C20-ACB2-4FEA-8616-0CC75E8DFD24}" srcOrd="8" destOrd="0" presId="urn:microsoft.com/office/officeart/2005/8/layout/cycle6"/>
    <dgm:cxn modelId="{86AD4540-0770-4C30-86A2-476477B27CEC}" type="presParOf" srcId="{4329FDAF-04C7-4DA9-B787-858204E50155}" destId="{27EE6E1F-366B-4DBB-99A1-8983A31A794F}" srcOrd="9" destOrd="0" presId="urn:microsoft.com/office/officeart/2005/8/layout/cycle6"/>
    <dgm:cxn modelId="{281497D8-393C-455F-A038-5095F139D418}" type="presParOf" srcId="{4329FDAF-04C7-4DA9-B787-858204E50155}" destId="{7538E603-CE2E-40CF-98ED-0FA7294FFE17}" srcOrd="10" destOrd="0" presId="urn:microsoft.com/office/officeart/2005/8/layout/cycle6"/>
    <dgm:cxn modelId="{13B5A8B6-5F79-4984-8E67-34D686A3DF48}" type="presParOf" srcId="{4329FDAF-04C7-4DA9-B787-858204E50155}" destId="{D7C0855D-1C61-446F-9A41-5BE225A20DF1}" srcOrd="11" destOrd="0" presId="urn:microsoft.com/office/officeart/2005/8/layout/cycle6"/>
    <dgm:cxn modelId="{30E17962-71B9-4CD3-A68D-D1BFC9F0E668}" type="presParOf" srcId="{4329FDAF-04C7-4DA9-B787-858204E50155}" destId="{D3B697EE-5965-4C7C-8FB9-A311B4FB31BE}" srcOrd="12" destOrd="0" presId="urn:microsoft.com/office/officeart/2005/8/layout/cycle6"/>
    <dgm:cxn modelId="{54A31BE0-F3D8-4AC0-81A9-75E94B19DF84}" type="presParOf" srcId="{4329FDAF-04C7-4DA9-B787-858204E50155}" destId="{43701AE3-EB44-4072-B99E-DB7AEF47EB9C}" srcOrd="13" destOrd="0" presId="urn:microsoft.com/office/officeart/2005/8/layout/cycle6"/>
    <dgm:cxn modelId="{71CA759B-8157-4667-B5FC-85B5AF1DF6C8}" type="presParOf" srcId="{4329FDAF-04C7-4DA9-B787-858204E50155}" destId="{2F381078-0B97-4D7D-BBDF-1101CD6C10E3}" srcOrd="14" destOrd="0" presId="urn:microsoft.com/office/officeart/2005/8/layout/cycle6"/>
    <dgm:cxn modelId="{9178F279-6449-4385-A38F-0DEAE83D7EDB}" type="presParOf" srcId="{4329FDAF-04C7-4DA9-B787-858204E50155}" destId="{1233A021-E04C-47C8-838C-EF93DCF6032C}" srcOrd="15" destOrd="0" presId="urn:microsoft.com/office/officeart/2005/8/layout/cycle6"/>
    <dgm:cxn modelId="{2276A7AB-B29A-4503-9290-28B36C13B77D}" type="presParOf" srcId="{4329FDAF-04C7-4DA9-B787-858204E50155}" destId="{CE52A648-B026-46F1-9CF1-2BCDB2AA0762}" srcOrd="16" destOrd="0" presId="urn:microsoft.com/office/officeart/2005/8/layout/cycle6"/>
    <dgm:cxn modelId="{C0627BBF-9BDB-44A8-BF68-2B9F65C0503F}" type="presParOf" srcId="{4329FDAF-04C7-4DA9-B787-858204E50155}" destId="{6328905C-0D8D-4187-B1F0-12E92D9EFD9A}" srcOrd="17" destOrd="0" presId="urn:microsoft.com/office/officeart/2005/8/layout/cycle6"/>
    <dgm:cxn modelId="{77264C8A-75BD-449C-878B-C06C7413F0C7}" type="presParOf" srcId="{4329FDAF-04C7-4DA9-B787-858204E50155}" destId="{8F826FD3-70F9-4076-9874-F7B6F42D8A74}" srcOrd="18" destOrd="0" presId="urn:microsoft.com/office/officeart/2005/8/layout/cycle6"/>
    <dgm:cxn modelId="{5E9CFFDC-C697-4A88-B6D3-5B573CBED76F}" type="presParOf" srcId="{4329FDAF-04C7-4DA9-B787-858204E50155}" destId="{DE99F664-325E-45EE-9E4E-154E3EA51594}" srcOrd="19" destOrd="0" presId="urn:microsoft.com/office/officeart/2005/8/layout/cycle6"/>
    <dgm:cxn modelId="{42FB5D50-4280-4A2B-9FED-DE98D4CA115E}" type="presParOf" srcId="{4329FDAF-04C7-4DA9-B787-858204E50155}" destId="{6915A387-FB67-47FF-AA9D-369A6C754C8B}" srcOrd="20" destOrd="0" presId="urn:microsoft.com/office/officeart/2005/8/layout/cycle6"/>
    <dgm:cxn modelId="{38594321-ED34-4ADF-B23C-C246176741C2}" type="presParOf" srcId="{4329FDAF-04C7-4DA9-B787-858204E50155}" destId="{8E243023-35AA-4930-BFBF-673DE24875C8}" srcOrd="21" destOrd="0" presId="urn:microsoft.com/office/officeart/2005/8/layout/cycle6"/>
    <dgm:cxn modelId="{9B869D08-2F16-434A-8D7E-2DDC4B4481DC}" type="presParOf" srcId="{4329FDAF-04C7-4DA9-B787-858204E50155}" destId="{EA4CCB4A-DE6B-4206-AA07-7E200AB34B63}" srcOrd="22" destOrd="0" presId="urn:microsoft.com/office/officeart/2005/8/layout/cycle6"/>
    <dgm:cxn modelId="{CE710BFE-3B28-4D4E-9A99-BE1023B59F38}" type="presParOf" srcId="{4329FDAF-04C7-4DA9-B787-858204E50155}" destId="{AA9EF83E-4900-42A0-A71C-B3135CBB89D4}" srcOrd="23" destOrd="0" presId="urn:microsoft.com/office/officeart/2005/8/layout/cycle6"/>
  </dgm:cxnLst>
  <dgm:bg>
    <a:noFill/>
  </dgm:bg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Définition du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3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: Méthodes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de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Cas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Etapes du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Savoir-être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A49C2D7-12D0-4518-BC98-A3272820B530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Phase 2 :</a:t>
          </a:r>
        </a:p>
        <a:p>
          <a:r>
            <a:rPr lang="fr-FR" sz="95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Savoir-faire</a:t>
          </a:r>
          <a:endParaRPr lang="fr-FR" sz="950" dirty="0">
            <a:solidFill>
              <a:schemeClr val="bg1"/>
            </a:solidFill>
            <a:latin typeface="Gill Sans" panose="020B0604020202020204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2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: Risques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du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3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: Quand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coacher ?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Types de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CF6EB11-219C-4DC0-9154-00C9934CFFFF}" type="presOf" srcId="{F7237CAD-458A-4DEE-BE25-3568BFF65879}" destId="{6C1BCA69-22CF-4F05-B914-357F6B8C02D5}" srcOrd="0" destOrd="0" presId="urn:microsoft.com/office/officeart/2005/8/layout/process2"/>
    <dgm:cxn modelId="{0392DE52-2DBE-4283-B8AE-10E932439EF8}" type="presOf" srcId="{65ADC171-D76B-4DA2-9796-3C9108575BCF}" destId="{4FD2053B-5A77-4D34-8C66-D50B8724D81E}" srcOrd="0" destOrd="0" presId="urn:microsoft.com/office/officeart/2005/8/layout/process2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6AF659C4-377E-4E7B-9F79-3884391C76B8}" type="presOf" srcId="{E5D2D304-F13F-4199-9163-2AD87DD91923}" destId="{85F2BDF6-F9F8-41DC-9874-6F84B6C7034A}" srcOrd="0" destOrd="0" presId="urn:microsoft.com/office/officeart/2005/8/layout/process2"/>
    <dgm:cxn modelId="{990BE552-5438-41B8-BB19-CBAF96749EAC}" type="presOf" srcId="{2AE408E0-1AF5-4F80-BFA2-F6C645A283D4}" destId="{F9790B67-A8A7-47D4-8E75-D889EA350148}" srcOrd="0" destOrd="0" presId="urn:microsoft.com/office/officeart/2005/8/layout/process2"/>
    <dgm:cxn modelId="{E92AA99D-75D0-416E-BB0E-B1CD236E67EB}" type="presOf" srcId="{F6B57F0F-2727-4614-A7FD-35FD6FCAF6E6}" destId="{6C27A5CC-5F13-4059-9AE7-C0A63DD7EC7E}" srcOrd="0" destOrd="0" presId="urn:microsoft.com/office/officeart/2005/8/layout/process2"/>
    <dgm:cxn modelId="{4522BB0D-CF43-445E-89D9-AECF41CD3B85}" type="presOf" srcId="{294402DA-D638-4BA1-B669-C7A658DFF56C}" destId="{2E1F2D2C-88F0-4727-80FE-ADD5804EF2B7}" srcOrd="0" destOrd="0" presId="urn:microsoft.com/office/officeart/2005/8/layout/process2"/>
    <dgm:cxn modelId="{33CEDF1F-CB99-4E1C-9F5C-31385FC99CED}" type="presOf" srcId="{A1FA66E9-6B47-43A9-A691-995B4B7D915F}" destId="{CD5751FF-25F1-44FE-B9E8-824DB4F14981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5FE10B70-2250-45EC-89FB-B41562B7EA9F}" type="presOf" srcId="{2CEC1776-9DE4-48EC-8B3A-CE30A34C08A8}" destId="{44B7898F-5A22-4319-8D85-0B72C2EF45F9}" srcOrd="0" destOrd="0" presId="urn:microsoft.com/office/officeart/2005/8/layout/process2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40CF6E20-629A-4FAB-BB11-716FA01A0B6B}" type="presOf" srcId="{F6B57F0F-2727-4614-A7FD-35FD6FCAF6E6}" destId="{219009EE-9B51-4162-9EBA-7B83AECF4795}" srcOrd="1" destOrd="0" presId="urn:microsoft.com/office/officeart/2005/8/layout/process2"/>
    <dgm:cxn modelId="{4B43091F-C907-4EA4-8D13-7113CE4FE805}" type="presOf" srcId="{EAE0BE0B-47C3-4CD6-817F-ECFB5232CEF3}" destId="{492AF956-F719-422D-9244-7729846A0ADF}" srcOrd="0" destOrd="0" presId="urn:microsoft.com/office/officeart/2005/8/layout/process2"/>
    <dgm:cxn modelId="{CFE807B4-6917-4C2F-9912-76D94D3AADCA}" type="presOf" srcId="{2AE408E0-1AF5-4F80-BFA2-F6C645A283D4}" destId="{5351E9FE-A558-447E-A302-DBACA0DF592D}" srcOrd="1" destOrd="0" presId="urn:microsoft.com/office/officeart/2005/8/layout/process2"/>
    <dgm:cxn modelId="{603A0EF0-B6B3-41DC-9297-D4F6F0C71655}" type="presOf" srcId="{FDFF01D2-F3CC-4D2C-A015-471198A0D6C7}" destId="{98E1D376-F99A-44C4-8AC9-E145DB47BC54}" srcOrd="1" destOrd="0" presId="urn:microsoft.com/office/officeart/2005/8/layout/process2"/>
    <dgm:cxn modelId="{0C7BB8B3-BE48-4367-92AF-A0FF07306C2A}" type="presOf" srcId="{78DC5BE3-9B5F-4CD7-B0EC-6566CDEFFE79}" destId="{28AF62BE-D6B0-493F-B896-8629ECF24A49}" srcOrd="0" destOrd="0" presId="urn:microsoft.com/office/officeart/2005/8/layout/process2"/>
    <dgm:cxn modelId="{635ABB3E-09BF-4C29-A717-8E832570F310}" type="presOf" srcId="{2CEC1776-9DE4-48EC-8B3A-CE30A34C08A8}" destId="{408A314B-8D14-452B-BB30-A6CDFBC7604D}" srcOrd="1" destOrd="0" presId="urn:microsoft.com/office/officeart/2005/8/layout/process2"/>
    <dgm:cxn modelId="{ED505526-1733-4156-A211-644369AF15CF}" type="presOf" srcId="{CC0749E6-31F7-4C9D-B494-AD9D61032896}" destId="{B22BB23F-E05B-4013-81BD-85F13AFDE6D1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122993F3-76B8-4FA3-9EDA-3E7A3C6F46DA}" type="presOf" srcId="{CC0749E6-31F7-4C9D-B494-AD9D61032896}" destId="{3C47B04F-CBBD-4ADD-A6BE-15EEB39DBB7F}" srcOrd="1" destOrd="0" presId="urn:microsoft.com/office/officeart/2005/8/layout/process2"/>
    <dgm:cxn modelId="{ACEB0EE3-4FE4-490E-88E0-D7BDB64144DD}" type="presOf" srcId="{E5A0750E-9076-4558-8E66-C53A1107536F}" destId="{A84114DE-6569-47D6-AD13-3BDCDD5C3236}" srcOrd="0" destOrd="0" presId="urn:microsoft.com/office/officeart/2005/8/layout/process2"/>
    <dgm:cxn modelId="{975EEE7F-84FA-42C4-82A0-5CDE72B6448F}" type="presOf" srcId="{9C241770-5D57-447B-B2C6-700BC348595B}" destId="{7EF63230-6818-417B-9423-2B2909FB868A}" srcOrd="0" destOrd="0" presId="urn:microsoft.com/office/officeart/2005/8/layout/process2"/>
    <dgm:cxn modelId="{7C976A09-AA51-4BA3-9431-D24AC68537BB}" type="presOf" srcId="{E5A0750E-9076-4558-8E66-C53A1107536F}" destId="{EB198668-65DF-4501-B2F3-20013C293CC4}" srcOrd="1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8C0CDB03-BB9D-4222-82A4-B6C673F1EB16}" type="presOf" srcId="{1AB6682E-C77A-48CC-818B-2A7EC3934804}" destId="{76E90E60-5B19-4029-8BE8-12C0FAC09B4F}" srcOrd="0" destOrd="0" presId="urn:microsoft.com/office/officeart/2005/8/layout/process2"/>
    <dgm:cxn modelId="{128791AE-77EA-45D6-93A3-D38A3AB35680}" type="presOf" srcId="{78DC5BE3-9B5F-4CD7-B0EC-6566CDEFFE79}" destId="{D1E38222-CE22-4A67-AEEE-B8A0996FDF5D}" srcOrd="1" destOrd="0" presId="urn:microsoft.com/office/officeart/2005/8/layout/process2"/>
    <dgm:cxn modelId="{8E29AE40-336B-4816-AA09-4FC984B2AF65}" type="presOf" srcId="{9EFE1160-C5B7-455D-AE24-A575AB41076E}" destId="{D49DFB90-1383-44F2-BB66-0887BCA7C4E5}" srcOrd="0" destOrd="0" presId="urn:microsoft.com/office/officeart/2005/8/layout/process2"/>
    <dgm:cxn modelId="{E1747AB7-9C18-4D23-AC92-EC78E29676F4}" type="presOf" srcId="{2A49C2D7-12D0-4518-BC98-A3272820B530}" destId="{564A9C2A-4DC0-4B71-8BDC-7615D299EDCD}" srcOrd="0" destOrd="0" presId="urn:microsoft.com/office/officeart/2005/8/layout/process2"/>
    <dgm:cxn modelId="{7760303A-CAFC-4738-A9A5-ECAAFE73B7E1}" type="presOf" srcId="{F7237CAD-458A-4DEE-BE25-3568BFF65879}" destId="{ADF04F16-ABFC-4DEA-9719-FE2EDEC087DE}" srcOrd="1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11DE2844-5FAC-4639-AB9F-500AEE235CDF}" type="presOf" srcId="{FDFF01D2-F3CC-4D2C-A015-471198A0D6C7}" destId="{0DFF998B-AB70-42CB-B86E-F2EDC6F014F8}" srcOrd="0" destOrd="0" presId="urn:microsoft.com/office/officeart/2005/8/layout/process2"/>
    <dgm:cxn modelId="{89C35C50-7D43-42D2-816B-384CF31B9F1D}" type="presOf" srcId="{550E20B0-80A8-42F2-BFE2-A3961B05A02A}" destId="{3D35B79B-418E-472B-B684-1ACC0A6CC011}" srcOrd="0" destOrd="0" presId="urn:microsoft.com/office/officeart/2005/8/layout/process2"/>
    <dgm:cxn modelId="{807494ED-B1BF-4A25-9F49-327D7F1158CA}" type="presParOf" srcId="{492AF956-F719-422D-9244-7729846A0ADF}" destId="{85F2BDF6-F9F8-41DC-9874-6F84B6C7034A}" srcOrd="0" destOrd="0" presId="urn:microsoft.com/office/officeart/2005/8/layout/process2"/>
    <dgm:cxn modelId="{B7C3F054-9344-4EAC-92F0-ABDFBB56394D}" type="presParOf" srcId="{492AF956-F719-422D-9244-7729846A0ADF}" destId="{44B7898F-5A22-4319-8D85-0B72C2EF45F9}" srcOrd="1" destOrd="0" presId="urn:microsoft.com/office/officeart/2005/8/layout/process2"/>
    <dgm:cxn modelId="{93A5D8D4-811E-46A7-863F-B550DCEA48A7}" type="presParOf" srcId="{44B7898F-5A22-4319-8D85-0B72C2EF45F9}" destId="{408A314B-8D14-452B-BB30-A6CDFBC7604D}" srcOrd="0" destOrd="0" presId="urn:microsoft.com/office/officeart/2005/8/layout/process2"/>
    <dgm:cxn modelId="{36C2EE80-31BE-4C8F-9306-2E6DE957CA8C}" type="presParOf" srcId="{492AF956-F719-422D-9244-7729846A0ADF}" destId="{3D35B79B-418E-472B-B684-1ACC0A6CC011}" srcOrd="2" destOrd="0" presId="urn:microsoft.com/office/officeart/2005/8/layout/process2"/>
    <dgm:cxn modelId="{C278EB3C-E4AF-4BA6-B1EB-C2E87DADFD5A}" type="presParOf" srcId="{492AF956-F719-422D-9244-7729846A0ADF}" destId="{6C27A5CC-5F13-4059-9AE7-C0A63DD7EC7E}" srcOrd="3" destOrd="0" presId="urn:microsoft.com/office/officeart/2005/8/layout/process2"/>
    <dgm:cxn modelId="{85F7D0A9-9793-480A-9072-4EE6507657C2}" type="presParOf" srcId="{6C27A5CC-5F13-4059-9AE7-C0A63DD7EC7E}" destId="{219009EE-9B51-4162-9EBA-7B83AECF4795}" srcOrd="0" destOrd="0" presId="urn:microsoft.com/office/officeart/2005/8/layout/process2"/>
    <dgm:cxn modelId="{5ABD7421-5364-481D-BB36-D8BA37C45033}" type="presParOf" srcId="{492AF956-F719-422D-9244-7729846A0ADF}" destId="{4FD2053B-5A77-4D34-8C66-D50B8724D81E}" srcOrd="4" destOrd="0" presId="urn:microsoft.com/office/officeart/2005/8/layout/process2"/>
    <dgm:cxn modelId="{50651A73-B995-47A1-B3ED-E299E36A8E96}" type="presParOf" srcId="{492AF956-F719-422D-9244-7729846A0ADF}" destId="{F9790B67-A8A7-47D4-8E75-D889EA350148}" srcOrd="5" destOrd="0" presId="urn:microsoft.com/office/officeart/2005/8/layout/process2"/>
    <dgm:cxn modelId="{15107460-CA50-4985-9772-F6DB16109D7D}" type="presParOf" srcId="{F9790B67-A8A7-47D4-8E75-D889EA350148}" destId="{5351E9FE-A558-447E-A302-DBACA0DF592D}" srcOrd="0" destOrd="0" presId="urn:microsoft.com/office/officeart/2005/8/layout/process2"/>
    <dgm:cxn modelId="{597A5492-215A-4E97-A046-D47BA9A30A71}" type="presParOf" srcId="{492AF956-F719-422D-9244-7729846A0ADF}" destId="{7EF63230-6818-417B-9423-2B2909FB868A}" srcOrd="6" destOrd="0" presId="urn:microsoft.com/office/officeart/2005/8/layout/process2"/>
    <dgm:cxn modelId="{26010C37-1443-44D7-A026-E04D3FA6C0DB}" type="presParOf" srcId="{492AF956-F719-422D-9244-7729846A0ADF}" destId="{6C1BCA69-22CF-4F05-B914-357F6B8C02D5}" srcOrd="7" destOrd="0" presId="urn:microsoft.com/office/officeart/2005/8/layout/process2"/>
    <dgm:cxn modelId="{1CB708C2-978C-4BDB-A603-AFD2288346C9}" type="presParOf" srcId="{6C1BCA69-22CF-4F05-B914-357F6B8C02D5}" destId="{ADF04F16-ABFC-4DEA-9719-FE2EDEC087DE}" srcOrd="0" destOrd="0" presId="urn:microsoft.com/office/officeart/2005/8/layout/process2"/>
    <dgm:cxn modelId="{51A8B817-D989-4A2D-B5E1-DB2B02A47B18}" type="presParOf" srcId="{492AF956-F719-422D-9244-7729846A0ADF}" destId="{564A9C2A-4DC0-4B71-8BDC-7615D299EDCD}" srcOrd="8" destOrd="0" presId="urn:microsoft.com/office/officeart/2005/8/layout/process2"/>
    <dgm:cxn modelId="{26056E03-675B-4B9A-BC8A-40CCB011A472}" type="presParOf" srcId="{492AF956-F719-422D-9244-7729846A0ADF}" destId="{0DFF998B-AB70-42CB-B86E-F2EDC6F014F8}" srcOrd="9" destOrd="0" presId="urn:microsoft.com/office/officeart/2005/8/layout/process2"/>
    <dgm:cxn modelId="{71E4960E-E798-41B9-8C74-33740A4296BB}" type="presParOf" srcId="{0DFF998B-AB70-42CB-B86E-F2EDC6F014F8}" destId="{98E1D376-F99A-44C4-8AC9-E145DB47BC54}" srcOrd="0" destOrd="0" presId="urn:microsoft.com/office/officeart/2005/8/layout/process2"/>
    <dgm:cxn modelId="{2E549BCA-495D-4AB2-A557-33C156653EAE}" type="presParOf" srcId="{492AF956-F719-422D-9244-7729846A0ADF}" destId="{D49DFB90-1383-44F2-BB66-0887BCA7C4E5}" srcOrd="10" destOrd="0" presId="urn:microsoft.com/office/officeart/2005/8/layout/process2"/>
    <dgm:cxn modelId="{695ADCA8-CA61-433A-989E-C5BAA3CABECF}" type="presParOf" srcId="{492AF956-F719-422D-9244-7729846A0ADF}" destId="{B22BB23F-E05B-4013-81BD-85F13AFDE6D1}" srcOrd="11" destOrd="0" presId="urn:microsoft.com/office/officeart/2005/8/layout/process2"/>
    <dgm:cxn modelId="{A5CEAF9A-5EFE-49CF-BC51-75D4CDFCB6F2}" type="presParOf" srcId="{B22BB23F-E05B-4013-81BD-85F13AFDE6D1}" destId="{3C47B04F-CBBD-4ADD-A6BE-15EEB39DBB7F}" srcOrd="0" destOrd="0" presId="urn:microsoft.com/office/officeart/2005/8/layout/process2"/>
    <dgm:cxn modelId="{5023520C-C83C-4AC5-853E-00129B6E52CE}" type="presParOf" srcId="{492AF956-F719-422D-9244-7729846A0ADF}" destId="{CD5751FF-25F1-44FE-B9E8-824DB4F14981}" srcOrd="12" destOrd="0" presId="urn:microsoft.com/office/officeart/2005/8/layout/process2"/>
    <dgm:cxn modelId="{D47435B7-FF3F-495A-B327-D853361544E1}" type="presParOf" srcId="{492AF956-F719-422D-9244-7729846A0ADF}" destId="{28AF62BE-D6B0-493F-B896-8629ECF24A49}" srcOrd="13" destOrd="0" presId="urn:microsoft.com/office/officeart/2005/8/layout/process2"/>
    <dgm:cxn modelId="{A9F0F719-5B60-44B6-8853-85DFCCBE00CA}" type="presParOf" srcId="{28AF62BE-D6B0-493F-B896-8629ECF24A49}" destId="{D1E38222-CE22-4A67-AEEE-B8A0996FDF5D}" srcOrd="0" destOrd="0" presId="urn:microsoft.com/office/officeart/2005/8/layout/process2"/>
    <dgm:cxn modelId="{631CC737-E7A7-48B8-9DC1-6A521B8430D4}" type="presParOf" srcId="{492AF956-F719-422D-9244-7729846A0ADF}" destId="{76E90E60-5B19-4029-8BE8-12C0FAC09B4F}" srcOrd="14" destOrd="0" presId="urn:microsoft.com/office/officeart/2005/8/layout/process2"/>
    <dgm:cxn modelId="{7B1AD20F-DAF7-4C88-A1A8-3B3E9DFCF971}" type="presParOf" srcId="{492AF956-F719-422D-9244-7729846A0ADF}" destId="{A84114DE-6569-47D6-AD13-3BDCDD5C3236}" srcOrd="15" destOrd="0" presId="urn:microsoft.com/office/officeart/2005/8/layout/process2"/>
    <dgm:cxn modelId="{FBB94358-1F30-4587-8F6E-F90C2099F69C}" type="presParOf" srcId="{A84114DE-6569-47D6-AD13-3BDCDD5C3236}" destId="{EB198668-65DF-4501-B2F3-20013C293CC4}" srcOrd="0" destOrd="0" presId="urn:microsoft.com/office/officeart/2005/8/layout/process2"/>
    <dgm:cxn modelId="{03AC0FF8-5E8C-4C1D-B7CB-AA2E9653E052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F2DA889F-E3FD-4E1E-99FC-CB308D4C3C58}" type="doc">
      <dgm:prSet loTypeId="urn:microsoft.com/office/officeart/2005/8/layout/radial5" loCatId="cycle" qsTypeId="urn:microsoft.com/office/officeart/2005/8/quickstyle/3d1" qsCatId="3D" csTypeId="urn:microsoft.com/office/officeart/2005/8/colors/accent2_2" csCatId="accent2" phldr="1"/>
      <dgm:spPr/>
      <dgm:t>
        <a:bodyPr/>
        <a:lstStyle/>
        <a:p>
          <a:endParaRPr lang="fr-FR"/>
        </a:p>
      </dgm:t>
    </dgm:pt>
    <dgm:pt modelId="{909E31FF-7558-4B40-BBAD-AD748F13C451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fr-FR" sz="24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" panose="020B0604020202020204"/>
            </a:rPr>
            <a:t>Les risques pour le collaborateur coaché</a:t>
          </a:r>
          <a:endParaRPr lang="fr-FR" sz="24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Gill Sans" panose="020B0604020202020204"/>
          </a:endParaRPr>
        </a:p>
      </dgm:t>
    </dgm:pt>
    <dgm:pt modelId="{C9873C7A-B811-4A4F-A73B-64210497B717}" type="parTrans" cxnId="{6A2CFD99-0E96-4BEC-9957-80C881FD187A}">
      <dgm:prSet/>
      <dgm:spPr/>
      <dgm:t>
        <a:bodyPr/>
        <a:lstStyle/>
        <a:p>
          <a:endParaRPr lang="fr-FR">
            <a:solidFill>
              <a:schemeClr val="tx1"/>
            </a:solidFill>
            <a:latin typeface="Gill Sans" panose="020B0604020202020204"/>
          </a:endParaRPr>
        </a:p>
      </dgm:t>
    </dgm:pt>
    <dgm:pt modelId="{A249DFB1-5985-4981-9BCF-1616D30C1769}" type="sibTrans" cxnId="{6A2CFD99-0E96-4BEC-9957-80C881FD187A}">
      <dgm:prSet/>
      <dgm:spPr/>
      <dgm:t>
        <a:bodyPr/>
        <a:lstStyle/>
        <a:p>
          <a:endParaRPr lang="fr-FR">
            <a:solidFill>
              <a:schemeClr val="tx1"/>
            </a:solidFill>
            <a:latin typeface="Gill Sans" panose="020B0604020202020204"/>
          </a:endParaRPr>
        </a:p>
      </dgm:t>
    </dgm:pt>
    <dgm:pt modelId="{C3E8932E-35D0-4183-94CF-480F2D1D0B15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fr-FR" sz="1800" b="0" dirty="0" smtClean="0">
              <a:solidFill>
                <a:schemeClr val="tx1"/>
              </a:solidFill>
              <a:latin typeface="Gill Sans" panose="020B0604020202020204"/>
            </a:rPr>
            <a:t>La dépendance</a:t>
          </a:r>
          <a:endParaRPr lang="fr-FR" sz="1800" b="0" dirty="0">
            <a:solidFill>
              <a:schemeClr val="tx1"/>
            </a:solidFill>
            <a:latin typeface="Gill Sans" panose="020B0604020202020204"/>
          </a:endParaRPr>
        </a:p>
      </dgm:t>
    </dgm:pt>
    <dgm:pt modelId="{095A7D6D-20AE-4F33-9D2A-AA8232E4C9AB}" type="parTrans" cxnId="{F914FD32-1819-4154-A270-AAB7CD51668D}">
      <dgm:prSet/>
      <dgm:spPr/>
      <dgm:t>
        <a:bodyPr/>
        <a:lstStyle/>
        <a:p>
          <a:endParaRPr lang="fr-FR" dirty="0">
            <a:solidFill>
              <a:schemeClr val="tx1"/>
            </a:solidFill>
            <a:latin typeface="Gill Sans" panose="020B0604020202020204"/>
          </a:endParaRPr>
        </a:p>
      </dgm:t>
    </dgm:pt>
    <dgm:pt modelId="{E44FAE79-E62F-43AE-ABDD-E8E2BCB0E9D8}" type="sibTrans" cxnId="{F914FD32-1819-4154-A270-AAB7CD51668D}">
      <dgm:prSet/>
      <dgm:spPr/>
      <dgm:t>
        <a:bodyPr/>
        <a:lstStyle/>
        <a:p>
          <a:endParaRPr lang="fr-FR">
            <a:solidFill>
              <a:schemeClr val="tx1"/>
            </a:solidFill>
            <a:latin typeface="Gill Sans" panose="020B0604020202020204"/>
          </a:endParaRPr>
        </a:p>
      </dgm:t>
    </dgm:pt>
    <dgm:pt modelId="{D6D605A1-C4E9-4643-B5ED-44F421853B9E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fr-FR" sz="1800" b="0" dirty="0" smtClean="0">
              <a:solidFill>
                <a:schemeClr val="tx1"/>
              </a:solidFill>
              <a:latin typeface="Gill Sans" panose="020B0604020202020204"/>
            </a:rPr>
            <a:t>La déresponsabilisation</a:t>
          </a:r>
          <a:endParaRPr lang="fr-FR" sz="1800" b="0" dirty="0">
            <a:solidFill>
              <a:schemeClr val="tx1"/>
            </a:solidFill>
            <a:latin typeface="Gill Sans" panose="020B0604020202020204"/>
          </a:endParaRPr>
        </a:p>
      </dgm:t>
    </dgm:pt>
    <dgm:pt modelId="{09D4AFE0-F147-4F94-B65D-F45605CC74BC}" type="parTrans" cxnId="{EDC10647-8126-4974-8EDB-6881755BE0E8}">
      <dgm:prSet/>
      <dgm:spPr/>
      <dgm:t>
        <a:bodyPr/>
        <a:lstStyle/>
        <a:p>
          <a:endParaRPr lang="fr-FR" dirty="0">
            <a:solidFill>
              <a:schemeClr val="tx1"/>
            </a:solidFill>
            <a:latin typeface="Gill Sans" panose="020B0604020202020204"/>
          </a:endParaRPr>
        </a:p>
      </dgm:t>
    </dgm:pt>
    <dgm:pt modelId="{B0931573-0A5D-4A7B-BAF3-39A1A42409ED}" type="sibTrans" cxnId="{EDC10647-8126-4974-8EDB-6881755BE0E8}">
      <dgm:prSet/>
      <dgm:spPr/>
      <dgm:t>
        <a:bodyPr/>
        <a:lstStyle/>
        <a:p>
          <a:endParaRPr lang="fr-FR">
            <a:solidFill>
              <a:schemeClr val="tx1"/>
            </a:solidFill>
            <a:latin typeface="Gill Sans" panose="020B0604020202020204"/>
          </a:endParaRPr>
        </a:p>
      </dgm:t>
    </dgm:pt>
    <dgm:pt modelId="{E03089FC-CB42-4DBC-8D92-421610446808}">
      <dgm:prSet phldrT="[Texte]" custT="1"/>
      <dgm:spPr>
        <a:solidFill>
          <a:schemeClr val="bg1">
            <a:lumMod val="85000"/>
          </a:schemeClr>
        </a:solidFill>
        <a:effectLst/>
        <a:scene3d>
          <a:camera prst="orthographicFront"/>
          <a:lightRig rig="flat" dir="t"/>
        </a:scene3d>
        <a:sp3d prstMaterial="plastic">
          <a:bevelB w="88900" h="31750" prst="angle"/>
        </a:sp3d>
      </dgm:spPr>
      <dgm:t>
        <a:bodyPr/>
        <a:lstStyle/>
        <a:p>
          <a:r>
            <a:rPr lang="fr-FR" sz="1800" dirty="0" smtClean="0">
              <a:solidFill>
                <a:schemeClr val="tx1"/>
              </a:solidFill>
              <a:latin typeface="Gill Sans" panose="020B0604020202020204"/>
            </a:rPr>
            <a:t>La passivité</a:t>
          </a:r>
          <a:endParaRPr lang="fr-FR" sz="1800" dirty="0">
            <a:solidFill>
              <a:schemeClr val="tx1"/>
            </a:solidFill>
            <a:latin typeface="Gill Sans" panose="020B0604020202020204"/>
          </a:endParaRPr>
        </a:p>
      </dgm:t>
    </dgm:pt>
    <dgm:pt modelId="{88F10C6B-9DC0-419E-8554-02858F76444E}" type="parTrans" cxnId="{8F82CED4-AC3B-4B1B-8C2E-8415852064B0}">
      <dgm:prSet/>
      <dgm:spPr/>
      <dgm:t>
        <a:bodyPr/>
        <a:lstStyle/>
        <a:p>
          <a:endParaRPr lang="fr-FR" dirty="0">
            <a:solidFill>
              <a:schemeClr val="tx1"/>
            </a:solidFill>
            <a:latin typeface="Gill Sans" panose="020B0604020202020204"/>
          </a:endParaRPr>
        </a:p>
      </dgm:t>
    </dgm:pt>
    <dgm:pt modelId="{784A6B02-4280-4D73-BF9A-D11C6782A0B3}" type="sibTrans" cxnId="{8F82CED4-AC3B-4B1B-8C2E-8415852064B0}">
      <dgm:prSet/>
      <dgm:spPr/>
      <dgm:t>
        <a:bodyPr/>
        <a:lstStyle/>
        <a:p>
          <a:endParaRPr lang="fr-FR">
            <a:solidFill>
              <a:schemeClr val="tx1"/>
            </a:solidFill>
            <a:latin typeface="Gill Sans" panose="020B0604020202020204"/>
          </a:endParaRPr>
        </a:p>
      </dgm:t>
    </dgm:pt>
    <dgm:pt modelId="{75A6EC56-A4E9-4A2B-A1EC-8872327A93CB}" type="pres">
      <dgm:prSet presAssocID="{F2DA889F-E3FD-4E1E-99FC-CB308D4C3C5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72B7ED88-B1B1-41B2-B074-1F1416F7317C}" type="pres">
      <dgm:prSet presAssocID="{909E31FF-7558-4B40-BBAD-AD748F13C451}" presName="centerShape" presStyleLbl="node0" presStyleIdx="0" presStyleCnt="1" custScaleX="374449" custScaleY="93067" custLinFactNeighborX="516" custLinFactNeighborY="-48130"/>
      <dgm:spPr>
        <a:prstGeom prst="roundRect">
          <a:avLst/>
        </a:prstGeom>
      </dgm:spPr>
      <dgm:t>
        <a:bodyPr/>
        <a:lstStyle/>
        <a:p>
          <a:endParaRPr lang="fr-FR"/>
        </a:p>
      </dgm:t>
    </dgm:pt>
    <dgm:pt modelId="{AE7437C7-00D7-4EAA-9B3D-CE0378709AF4}" type="pres">
      <dgm:prSet presAssocID="{095A7D6D-20AE-4F33-9D2A-AA8232E4C9AB}" presName="parTrans" presStyleLbl="sibTrans2D1" presStyleIdx="0" presStyleCnt="3" custLinFactNeighborX="-11403" custLinFactNeighborY="27652"/>
      <dgm:spPr/>
      <dgm:t>
        <a:bodyPr/>
        <a:lstStyle/>
        <a:p>
          <a:endParaRPr lang="fr-FR"/>
        </a:p>
      </dgm:t>
    </dgm:pt>
    <dgm:pt modelId="{FD8D6369-AFE5-4A3C-AECA-19DB045C8E85}" type="pres">
      <dgm:prSet presAssocID="{095A7D6D-20AE-4F33-9D2A-AA8232E4C9AB}" presName="connectorText" presStyleLbl="sibTrans2D1" presStyleIdx="0" presStyleCnt="3"/>
      <dgm:spPr/>
      <dgm:t>
        <a:bodyPr/>
        <a:lstStyle/>
        <a:p>
          <a:endParaRPr lang="fr-FR"/>
        </a:p>
      </dgm:t>
    </dgm:pt>
    <dgm:pt modelId="{99754E3D-DB82-453B-A528-36CF5E5F51C9}" type="pres">
      <dgm:prSet presAssocID="{C3E8932E-35D0-4183-94CF-480F2D1D0B15}" presName="node" presStyleLbl="node1" presStyleIdx="0" presStyleCnt="3" custScaleX="135855" custScaleY="106311" custRadScaleRad="137740" custRadScaleInc="-15045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9E9277F-9466-48A1-8FD5-0A0E535A0FCC}" type="pres">
      <dgm:prSet presAssocID="{09D4AFE0-F147-4F94-B65D-F45605CC74BC}" presName="parTrans" presStyleLbl="sibTrans2D1" presStyleIdx="1" presStyleCnt="3" custLinFactNeighborX="7788" custLinFactNeighborY="24885"/>
      <dgm:spPr/>
      <dgm:t>
        <a:bodyPr/>
        <a:lstStyle/>
        <a:p>
          <a:endParaRPr lang="fr-FR"/>
        </a:p>
      </dgm:t>
    </dgm:pt>
    <dgm:pt modelId="{4D951AF9-88E1-4294-9034-0E477DFE4191}" type="pres">
      <dgm:prSet presAssocID="{09D4AFE0-F147-4F94-B65D-F45605CC74BC}" presName="connectorText" presStyleLbl="sibTrans2D1" presStyleIdx="1" presStyleCnt="3"/>
      <dgm:spPr/>
      <dgm:t>
        <a:bodyPr/>
        <a:lstStyle/>
        <a:p>
          <a:endParaRPr lang="fr-FR"/>
        </a:p>
      </dgm:t>
    </dgm:pt>
    <dgm:pt modelId="{CA841FF8-F505-4108-83F2-7E60B663492D}" type="pres">
      <dgm:prSet presAssocID="{D6D605A1-C4E9-4643-B5ED-44F421853B9E}" presName="node" presStyleLbl="node1" presStyleIdx="1" presStyleCnt="3" custScaleX="197314" custScaleY="106311" custRadScaleRad="144050" custRadScaleInc="-4956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544DF46-F907-4F7F-B625-0FA63F6D0375}" type="pres">
      <dgm:prSet presAssocID="{88F10C6B-9DC0-419E-8554-02858F76444E}" presName="parTrans" presStyleLbl="sibTrans2D1" presStyleIdx="2" presStyleCnt="3" custLinFactNeighborX="-15064" custLinFactNeighborY="25773"/>
      <dgm:spPr/>
      <dgm:t>
        <a:bodyPr/>
        <a:lstStyle/>
        <a:p>
          <a:endParaRPr lang="fr-FR"/>
        </a:p>
      </dgm:t>
    </dgm:pt>
    <dgm:pt modelId="{14E82213-45FF-4691-A60E-D463AE95382F}" type="pres">
      <dgm:prSet presAssocID="{88F10C6B-9DC0-419E-8554-02858F76444E}" presName="connectorText" presStyleLbl="sibTrans2D1" presStyleIdx="2" presStyleCnt="3"/>
      <dgm:spPr/>
      <dgm:t>
        <a:bodyPr/>
        <a:lstStyle/>
        <a:p>
          <a:endParaRPr lang="fr-FR"/>
        </a:p>
      </dgm:t>
    </dgm:pt>
    <dgm:pt modelId="{8A94FA10-5831-4C2F-B258-302C9823E52F}" type="pres">
      <dgm:prSet presAssocID="{E03089FC-CB42-4DBC-8D92-421610446808}" presName="node" presStyleLbl="node1" presStyleIdx="2" presStyleCnt="3" custScaleX="135855" custScaleY="106311" custRadScaleRad="41315" custRadScaleInc="-8790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F914FD32-1819-4154-A270-AAB7CD51668D}" srcId="{909E31FF-7558-4B40-BBAD-AD748F13C451}" destId="{C3E8932E-35D0-4183-94CF-480F2D1D0B15}" srcOrd="0" destOrd="0" parTransId="{095A7D6D-20AE-4F33-9D2A-AA8232E4C9AB}" sibTransId="{E44FAE79-E62F-43AE-ABDD-E8E2BCB0E9D8}"/>
    <dgm:cxn modelId="{6C987516-408D-4AFA-A2ED-D4EDD3B07948}" type="presOf" srcId="{D6D605A1-C4E9-4643-B5ED-44F421853B9E}" destId="{CA841FF8-F505-4108-83F2-7E60B663492D}" srcOrd="0" destOrd="0" presId="urn:microsoft.com/office/officeart/2005/8/layout/radial5"/>
    <dgm:cxn modelId="{11A5F8E6-C27E-49C8-A5A7-297CDDB5659A}" type="presOf" srcId="{09D4AFE0-F147-4F94-B65D-F45605CC74BC}" destId="{4D951AF9-88E1-4294-9034-0E477DFE4191}" srcOrd="1" destOrd="0" presId="urn:microsoft.com/office/officeart/2005/8/layout/radial5"/>
    <dgm:cxn modelId="{046E78EF-1083-41A9-BE1C-EEDE17E7D0B5}" type="presOf" srcId="{095A7D6D-20AE-4F33-9D2A-AA8232E4C9AB}" destId="{AE7437C7-00D7-4EAA-9B3D-CE0378709AF4}" srcOrd="0" destOrd="0" presId="urn:microsoft.com/office/officeart/2005/8/layout/radial5"/>
    <dgm:cxn modelId="{EDC10647-8126-4974-8EDB-6881755BE0E8}" srcId="{909E31FF-7558-4B40-BBAD-AD748F13C451}" destId="{D6D605A1-C4E9-4643-B5ED-44F421853B9E}" srcOrd="1" destOrd="0" parTransId="{09D4AFE0-F147-4F94-B65D-F45605CC74BC}" sibTransId="{B0931573-0A5D-4A7B-BAF3-39A1A42409ED}"/>
    <dgm:cxn modelId="{ED5FAE55-F2EA-41BE-B042-943E131BC238}" type="presOf" srcId="{88F10C6B-9DC0-419E-8554-02858F76444E}" destId="{5544DF46-F907-4F7F-B625-0FA63F6D0375}" srcOrd="0" destOrd="0" presId="urn:microsoft.com/office/officeart/2005/8/layout/radial5"/>
    <dgm:cxn modelId="{3912C7C8-B8D2-497A-9A08-1913142EF818}" type="presOf" srcId="{F2DA889F-E3FD-4E1E-99FC-CB308D4C3C58}" destId="{75A6EC56-A4E9-4A2B-A1EC-8872327A93CB}" srcOrd="0" destOrd="0" presId="urn:microsoft.com/office/officeart/2005/8/layout/radial5"/>
    <dgm:cxn modelId="{D040B51E-48D1-469F-96D7-BD191751AD5D}" type="presOf" srcId="{E03089FC-CB42-4DBC-8D92-421610446808}" destId="{8A94FA10-5831-4C2F-B258-302C9823E52F}" srcOrd="0" destOrd="0" presId="urn:microsoft.com/office/officeart/2005/8/layout/radial5"/>
    <dgm:cxn modelId="{8F82CED4-AC3B-4B1B-8C2E-8415852064B0}" srcId="{909E31FF-7558-4B40-BBAD-AD748F13C451}" destId="{E03089FC-CB42-4DBC-8D92-421610446808}" srcOrd="2" destOrd="0" parTransId="{88F10C6B-9DC0-419E-8554-02858F76444E}" sibTransId="{784A6B02-4280-4D73-BF9A-D11C6782A0B3}"/>
    <dgm:cxn modelId="{123C4BB7-0572-401A-807D-B189681999C1}" type="presOf" srcId="{88F10C6B-9DC0-419E-8554-02858F76444E}" destId="{14E82213-45FF-4691-A60E-D463AE95382F}" srcOrd="1" destOrd="0" presId="urn:microsoft.com/office/officeart/2005/8/layout/radial5"/>
    <dgm:cxn modelId="{1D9ABC0A-3AC8-4956-B596-028F01DF9661}" type="presOf" srcId="{09D4AFE0-F147-4F94-B65D-F45605CC74BC}" destId="{D9E9277F-9466-48A1-8FD5-0A0E535A0FCC}" srcOrd="0" destOrd="0" presId="urn:microsoft.com/office/officeart/2005/8/layout/radial5"/>
    <dgm:cxn modelId="{D3C0E36E-CC81-4571-BDD3-B8B113109C1F}" type="presOf" srcId="{C3E8932E-35D0-4183-94CF-480F2D1D0B15}" destId="{99754E3D-DB82-453B-A528-36CF5E5F51C9}" srcOrd="0" destOrd="0" presId="urn:microsoft.com/office/officeart/2005/8/layout/radial5"/>
    <dgm:cxn modelId="{6A2CFD99-0E96-4BEC-9957-80C881FD187A}" srcId="{F2DA889F-E3FD-4E1E-99FC-CB308D4C3C58}" destId="{909E31FF-7558-4B40-BBAD-AD748F13C451}" srcOrd="0" destOrd="0" parTransId="{C9873C7A-B811-4A4F-A73B-64210497B717}" sibTransId="{A249DFB1-5985-4981-9BCF-1616D30C1769}"/>
    <dgm:cxn modelId="{BB8AC638-385B-4420-8665-44860457A4D5}" type="presOf" srcId="{909E31FF-7558-4B40-BBAD-AD748F13C451}" destId="{72B7ED88-B1B1-41B2-B074-1F1416F7317C}" srcOrd="0" destOrd="0" presId="urn:microsoft.com/office/officeart/2005/8/layout/radial5"/>
    <dgm:cxn modelId="{DE615F80-8D40-4C54-B04E-C9CCACE3E805}" type="presOf" srcId="{095A7D6D-20AE-4F33-9D2A-AA8232E4C9AB}" destId="{FD8D6369-AFE5-4A3C-AECA-19DB045C8E85}" srcOrd="1" destOrd="0" presId="urn:microsoft.com/office/officeart/2005/8/layout/radial5"/>
    <dgm:cxn modelId="{7CF3FA20-9C66-4390-8265-085898CEFE7E}" type="presParOf" srcId="{75A6EC56-A4E9-4A2B-A1EC-8872327A93CB}" destId="{72B7ED88-B1B1-41B2-B074-1F1416F7317C}" srcOrd="0" destOrd="0" presId="urn:microsoft.com/office/officeart/2005/8/layout/radial5"/>
    <dgm:cxn modelId="{28479C17-1BD0-4474-A955-8ED865150725}" type="presParOf" srcId="{75A6EC56-A4E9-4A2B-A1EC-8872327A93CB}" destId="{AE7437C7-00D7-4EAA-9B3D-CE0378709AF4}" srcOrd="1" destOrd="0" presId="urn:microsoft.com/office/officeart/2005/8/layout/radial5"/>
    <dgm:cxn modelId="{8A34431B-5177-4468-BD3C-E487C438D088}" type="presParOf" srcId="{AE7437C7-00D7-4EAA-9B3D-CE0378709AF4}" destId="{FD8D6369-AFE5-4A3C-AECA-19DB045C8E85}" srcOrd="0" destOrd="0" presId="urn:microsoft.com/office/officeart/2005/8/layout/radial5"/>
    <dgm:cxn modelId="{5177B0CA-65E4-45B0-B1F9-4CF19F60B67D}" type="presParOf" srcId="{75A6EC56-A4E9-4A2B-A1EC-8872327A93CB}" destId="{99754E3D-DB82-453B-A528-36CF5E5F51C9}" srcOrd="2" destOrd="0" presId="urn:microsoft.com/office/officeart/2005/8/layout/radial5"/>
    <dgm:cxn modelId="{3D628F33-38A0-425A-B5E3-A1429FB273D3}" type="presParOf" srcId="{75A6EC56-A4E9-4A2B-A1EC-8872327A93CB}" destId="{D9E9277F-9466-48A1-8FD5-0A0E535A0FCC}" srcOrd="3" destOrd="0" presId="urn:microsoft.com/office/officeart/2005/8/layout/radial5"/>
    <dgm:cxn modelId="{5EE86123-9CD9-4373-A0EE-A7FCDA93EA5C}" type="presParOf" srcId="{D9E9277F-9466-48A1-8FD5-0A0E535A0FCC}" destId="{4D951AF9-88E1-4294-9034-0E477DFE4191}" srcOrd="0" destOrd="0" presId="urn:microsoft.com/office/officeart/2005/8/layout/radial5"/>
    <dgm:cxn modelId="{AC048825-0C16-4714-824D-C4BEDDFADD4C}" type="presParOf" srcId="{75A6EC56-A4E9-4A2B-A1EC-8872327A93CB}" destId="{CA841FF8-F505-4108-83F2-7E60B663492D}" srcOrd="4" destOrd="0" presId="urn:microsoft.com/office/officeart/2005/8/layout/radial5"/>
    <dgm:cxn modelId="{3EE53FFC-5FE2-44B8-A341-6F6FC91154AA}" type="presParOf" srcId="{75A6EC56-A4E9-4A2B-A1EC-8872327A93CB}" destId="{5544DF46-F907-4F7F-B625-0FA63F6D0375}" srcOrd="5" destOrd="0" presId="urn:microsoft.com/office/officeart/2005/8/layout/radial5"/>
    <dgm:cxn modelId="{38A38283-CDA1-4688-868F-B1A3F36DD0F5}" type="presParOf" srcId="{5544DF46-F907-4F7F-B625-0FA63F6D0375}" destId="{14E82213-45FF-4691-A60E-D463AE95382F}" srcOrd="0" destOrd="0" presId="urn:microsoft.com/office/officeart/2005/8/layout/radial5"/>
    <dgm:cxn modelId="{313746B0-03C2-4CE9-83ED-853425207AD0}" type="presParOf" srcId="{75A6EC56-A4E9-4A2B-A1EC-8872327A93CB}" destId="{8A94FA10-5831-4C2F-B258-302C9823E52F}" srcOrd="6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F0E5E464-0561-4878-9234-A4B549D3F417}" type="presOf" srcId="{F6B57F0F-2727-4614-A7FD-35FD6FCAF6E6}" destId="{219009EE-9B51-4162-9EBA-7B83AECF4795}" srcOrd="1" destOrd="0" presId="urn:microsoft.com/office/officeart/2005/8/layout/process2"/>
    <dgm:cxn modelId="{83376621-9D37-4844-A7AF-1DB38831D9A9}" type="presOf" srcId="{9EFE1160-C5B7-455D-AE24-A575AB41076E}" destId="{D49DFB90-1383-44F2-BB66-0887BCA7C4E5}" srcOrd="0" destOrd="0" presId="urn:microsoft.com/office/officeart/2005/8/layout/process2"/>
    <dgm:cxn modelId="{6E2488BB-BE05-4C1C-AA29-8E3590814EF6}" type="presOf" srcId="{9C241770-5D57-447B-B2C6-700BC348595B}" destId="{7EF63230-6818-417B-9423-2B2909FB868A}" srcOrd="0" destOrd="0" presId="urn:microsoft.com/office/officeart/2005/8/layout/process2"/>
    <dgm:cxn modelId="{335FC446-0B75-4755-B9C6-1A1288047622}" type="presOf" srcId="{65ADC171-D76B-4DA2-9796-3C9108575BCF}" destId="{4FD2053B-5A77-4D34-8C66-D50B8724D81E}" srcOrd="0" destOrd="0" presId="urn:microsoft.com/office/officeart/2005/8/layout/process2"/>
    <dgm:cxn modelId="{249F0DDD-186F-4BFC-A374-6D401ECEDE86}" type="presOf" srcId="{2CEC1776-9DE4-48EC-8B3A-CE30A34C08A8}" destId="{44B7898F-5A22-4319-8D85-0B72C2EF45F9}" srcOrd="0" destOrd="0" presId="urn:microsoft.com/office/officeart/2005/8/layout/process2"/>
    <dgm:cxn modelId="{F0B054B1-ED42-4A85-8BB1-FA7CC8E32E6C}" type="presOf" srcId="{FDFF01D2-F3CC-4D2C-A015-471198A0D6C7}" destId="{98E1D376-F99A-44C4-8AC9-E145DB47BC54}" srcOrd="1" destOrd="0" presId="urn:microsoft.com/office/officeart/2005/8/layout/process2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F7023782-277A-4379-AF4B-1D945E0E271C}" type="presOf" srcId="{E5D2D304-F13F-4199-9163-2AD87DD91923}" destId="{85F2BDF6-F9F8-41DC-9874-6F84B6C7034A}" srcOrd="0" destOrd="0" presId="urn:microsoft.com/office/officeart/2005/8/layout/process2"/>
    <dgm:cxn modelId="{CE706676-6342-4DEC-A459-F1A743A87885}" type="presOf" srcId="{EAE0BE0B-47C3-4CD6-817F-ECFB5232CEF3}" destId="{492AF956-F719-422D-9244-7729846A0ADF}" srcOrd="0" destOrd="0" presId="urn:microsoft.com/office/officeart/2005/8/layout/process2"/>
    <dgm:cxn modelId="{876C0DCD-A848-4390-A1A0-4F1F56CBA93B}" type="presOf" srcId="{294402DA-D638-4BA1-B669-C7A658DFF56C}" destId="{2E1F2D2C-88F0-4727-80FE-ADD5804EF2B7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A4327FC7-FC30-405F-AC11-2D6B81DD5B7B}" type="presOf" srcId="{1AB6682E-C77A-48CC-818B-2A7EC3934804}" destId="{76E90E60-5B19-4029-8BE8-12C0FAC09B4F}" srcOrd="0" destOrd="0" presId="urn:microsoft.com/office/officeart/2005/8/layout/process2"/>
    <dgm:cxn modelId="{5356C368-4237-4348-99AA-A334A6C0BFA8}" type="presOf" srcId="{78DC5BE3-9B5F-4CD7-B0EC-6566CDEFFE79}" destId="{D1E38222-CE22-4A67-AEEE-B8A0996FDF5D}" srcOrd="1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CCC29880-EC1E-4F8D-BAE2-1ADD79A15B69}" type="presOf" srcId="{78DC5BE3-9B5F-4CD7-B0EC-6566CDEFFE79}" destId="{28AF62BE-D6B0-493F-B896-8629ECF24A49}" srcOrd="0" destOrd="0" presId="urn:microsoft.com/office/officeart/2005/8/layout/process2"/>
    <dgm:cxn modelId="{57A0D3F3-5B15-4A8D-99C3-634C8CF0F8FE}" type="presOf" srcId="{E5A0750E-9076-4558-8E66-C53A1107536F}" destId="{EB198668-65DF-4501-B2F3-20013C293CC4}" srcOrd="1" destOrd="0" presId="urn:microsoft.com/office/officeart/2005/8/layout/process2"/>
    <dgm:cxn modelId="{651CB775-7D41-4D1A-A5C3-4DF501472267}" type="presOf" srcId="{F7237CAD-458A-4DEE-BE25-3568BFF65879}" destId="{6C1BCA69-22CF-4F05-B914-357F6B8C02D5}" srcOrd="0" destOrd="0" presId="urn:microsoft.com/office/officeart/2005/8/layout/process2"/>
    <dgm:cxn modelId="{7105DBF8-1034-4779-B87F-F736351E90EC}" type="presOf" srcId="{E5A0750E-9076-4558-8E66-C53A1107536F}" destId="{A84114DE-6569-47D6-AD13-3BDCDD5C3236}" srcOrd="0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08AE06C7-2BF8-40C9-A40C-391688862898}" type="presOf" srcId="{2CEC1776-9DE4-48EC-8B3A-CE30A34C08A8}" destId="{408A314B-8D14-452B-BB30-A6CDFBC7604D}" srcOrd="1" destOrd="0" presId="urn:microsoft.com/office/officeart/2005/8/layout/process2"/>
    <dgm:cxn modelId="{731D4E8C-9008-49BB-8B16-72F871AB0D42}" type="presOf" srcId="{550E20B0-80A8-42F2-BFE2-A3961B05A02A}" destId="{3D35B79B-418E-472B-B684-1ACC0A6CC011}" srcOrd="0" destOrd="0" presId="urn:microsoft.com/office/officeart/2005/8/layout/process2"/>
    <dgm:cxn modelId="{6978693E-0CFB-4687-906C-3A73AA4C5982}" type="presOf" srcId="{F7237CAD-458A-4DEE-BE25-3568BFF65879}" destId="{ADF04F16-ABFC-4DEA-9719-FE2EDEC087DE}" srcOrd="1" destOrd="0" presId="urn:microsoft.com/office/officeart/2005/8/layout/process2"/>
    <dgm:cxn modelId="{02472FBD-5EDB-4753-A1A2-FD8A5FB67EA5}" type="presOf" srcId="{FDFF01D2-F3CC-4D2C-A015-471198A0D6C7}" destId="{0DFF998B-AB70-42CB-B86E-F2EDC6F014F8}" srcOrd="0" destOrd="0" presId="urn:microsoft.com/office/officeart/2005/8/layout/process2"/>
    <dgm:cxn modelId="{A1A79DC4-8B43-446C-84C3-F98C329A2275}" type="presOf" srcId="{CC0749E6-31F7-4C9D-B494-AD9D61032896}" destId="{3C47B04F-CBBD-4ADD-A6BE-15EEB39DBB7F}" srcOrd="1" destOrd="0" presId="urn:microsoft.com/office/officeart/2005/8/layout/process2"/>
    <dgm:cxn modelId="{0505928C-CA04-43B1-B45F-F7EB3D6E2959}" type="presOf" srcId="{F6B57F0F-2727-4614-A7FD-35FD6FCAF6E6}" destId="{6C27A5CC-5F13-4059-9AE7-C0A63DD7EC7E}" srcOrd="0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1079A9AB-76F2-4FBB-9B7B-08A69375C976}" type="presOf" srcId="{CC0749E6-31F7-4C9D-B494-AD9D61032896}" destId="{B22BB23F-E05B-4013-81BD-85F13AFDE6D1}" srcOrd="0" destOrd="0" presId="urn:microsoft.com/office/officeart/2005/8/layout/process2"/>
    <dgm:cxn modelId="{AD3C5284-F5AB-4DB2-BC31-0F7C53668364}" type="presOf" srcId="{2AE408E0-1AF5-4F80-BFA2-F6C645A283D4}" destId="{F9790B67-A8A7-47D4-8E75-D889EA350148}" srcOrd="0" destOrd="0" presId="urn:microsoft.com/office/officeart/2005/8/layout/process2"/>
    <dgm:cxn modelId="{B696130F-967E-4B1E-948E-01DFD170C73E}" type="presOf" srcId="{2A49C2D7-12D0-4518-BC98-A3272820B530}" destId="{564A9C2A-4DC0-4B71-8BDC-7615D299EDCD}" srcOrd="0" destOrd="0" presId="urn:microsoft.com/office/officeart/2005/8/layout/process2"/>
    <dgm:cxn modelId="{A9D1D7FA-2C51-42F3-9232-1167BF6DD8C2}" type="presOf" srcId="{A1FA66E9-6B47-43A9-A691-995B4B7D915F}" destId="{CD5751FF-25F1-44FE-B9E8-824DB4F14981}" srcOrd="0" destOrd="0" presId="urn:microsoft.com/office/officeart/2005/8/layout/process2"/>
    <dgm:cxn modelId="{6F450F3B-B95C-46C2-9C9A-A5D9B9977A3F}" type="presOf" srcId="{2AE408E0-1AF5-4F80-BFA2-F6C645A283D4}" destId="{5351E9FE-A558-447E-A302-DBACA0DF592D}" srcOrd="1" destOrd="0" presId="urn:microsoft.com/office/officeart/2005/8/layout/process2"/>
    <dgm:cxn modelId="{FCAF40BD-8E54-495E-A6D8-4331C064628E}" type="presParOf" srcId="{492AF956-F719-422D-9244-7729846A0ADF}" destId="{85F2BDF6-F9F8-41DC-9874-6F84B6C7034A}" srcOrd="0" destOrd="0" presId="urn:microsoft.com/office/officeart/2005/8/layout/process2"/>
    <dgm:cxn modelId="{33D0E7C0-4955-4BAB-8107-1C830FD04F92}" type="presParOf" srcId="{492AF956-F719-422D-9244-7729846A0ADF}" destId="{44B7898F-5A22-4319-8D85-0B72C2EF45F9}" srcOrd="1" destOrd="0" presId="urn:microsoft.com/office/officeart/2005/8/layout/process2"/>
    <dgm:cxn modelId="{B1F3749E-1C0D-4FDC-93F5-95490619AC1A}" type="presParOf" srcId="{44B7898F-5A22-4319-8D85-0B72C2EF45F9}" destId="{408A314B-8D14-452B-BB30-A6CDFBC7604D}" srcOrd="0" destOrd="0" presId="urn:microsoft.com/office/officeart/2005/8/layout/process2"/>
    <dgm:cxn modelId="{A6A31FAA-5595-4EB0-8DE7-F90522A32980}" type="presParOf" srcId="{492AF956-F719-422D-9244-7729846A0ADF}" destId="{3D35B79B-418E-472B-B684-1ACC0A6CC011}" srcOrd="2" destOrd="0" presId="urn:microsoft.com/office/officeart/2005/8/layout/process2"/>
    <dgm:cxn modelId="{82A88EBD-4278-4547-BB95-3F5B0F7E6534}" type="presParOf" srcId="{492AF956-F719-422D-9244-7729846A0ADF}" destId="{6C27A5CC-5F13-4059-9AE7-C0A63DD7EC7E}" srcOrd="3" destOrd="0" presId="urn:microsoft.com/office/officeart/2005/8/layout/process2"/>
    <dgm:cxn modelId="{5B64922B-B96F-4020-83D0-02A1F5400B9D}" type="presParOf" srcId="{6C27A5CC-5F13-4059-9AE7-C0A63DD7EC7E}" destId="{219009EE-9B51-4162-9EBA-7B83AECF4795}" srcOrd="0" destOrd="0" presId="urn:microsoft.com/office/officeart/2005/8/layout/process2"/>
    <dgm:cxn modelId="{78A416F6-9C6A-46FB-9240-50E26713ED2F}" type="presParOf" srcId="{492AF956-F719-422D-9244-7729846A0ADF}" destId="{4FD2053B-5A77-4D34-8C66-D50B8724D81E}" srcOrd="4" destOrd="0" presId="urn:microsoft.com/office/officeart/2005/8/layout/process2"/>
    <dgm:cxn modelId="{7172BFE3-4A2F-47E7-8346-E9380F6A5F9A}" type="presParOf" srcId="{492AF956-F719-422D-9244-7729846A0ADF}" destId="{F9790B67-A8A7-47D4-8E75-D889EA350148}" srcOrd="5" destOrd="0" presId="urn:microsoft.com/office/officeart/2005/8/layout/process2"/>
    <dgm:cxn modelId="{A3E2CAD6-9A35-491C-9722-834BFDA0AFE4}" type="presParOf" srcId="{F9790B67-A8A7-47D4-8E75-D889EA350148}" destId="{5351E9FE-A558-447E-A302-DBACA0DF592D}" srcOrd="0" destOrd="0" presId="urn:microsoft.com/office/officeart/2005/8/layout/process2"/>
    <dgm:cxn modelId="{FA569BC5-CFE4-4F34-9D06-F7D6FA7B8494}" type="presParOf" srcId="{492AF956-F719-422D-9244-7729846A0ADF}" destId="{7EF63230-6818-417B-9423-2B2909FB868A}" srcOrd="6" destOrd="0" presId="urn:microsoft.com/office/officeart/2005/8/layout/process2"/>
    <dgm:cxn modelId="{B02FD492-3F28-40E4-A730-9AC9023F7430}" type="presParOf" srcId="{492AF956-F719-422D-9244-7729846A0ADF}" destId="{6C1BCA69-22CF-4F05-B914-357F6B8C02D5}" srcOrd="7" destOrd="0" presId="urn:microsoft.com/office/officeart/2005/8/layout/process2"/>
    <dgm:cxn modelId="{DEDB636D-2671-4C01-B00D-2A126AF125EA}" type="presParOf" srcId="{6C1BCA69-22CF-4F05-B914-357F6B8C02D5}" destId="{ADF04F16-ABFC-4DEA-9719-FE2EDEC087DE}" srcOrd="0" destOrd="0" presId="urn:microsoft.com/office/officeart/2005/8/layout/process2"/>
    <dgm:cxn modelId="{5F13BF1C-07F3-457E-BDED-0202D1A3F25B}" type="presParOf" srcId="{492AF956-F719-422D-9244-7729846A0ADF}" destId="{564A9C2A-4DC0-4B71-8BDC-7615D299EDCD}" srcOrd="8" destOrd="0" presId="urn:microsoft.com/office/officeart/2005/8/layout/process2"/>
    <dgm:cxn modelId="{54FFA273-A4AE-4DB2-A99F-32FBB5202B27}" type="presParOf" srcId="{492AF956-F719-422D-9244-7729846A0ADF}" destId="{0DFF998B-AB70-42CB-B86E-F2EDC6F014F8}" srcOrd="9" destOrd="0" presId="urn:microsoft.com/office/officeart/2005/8/layout/process2"/>
    <dgm:cxn modelId="{A115CCE3-5BE1-4336-B277-626BA2137BF4}" type="presParOf" srcId="{0DFF998B-AB70-42CB-B86E-F2EDC6F014F8}" destId="{98E1D376-F99A-44C4-8AC9-E145DB47BC54}" srcOrd="0" destOrd="0" presId="urn:microsoft.com/office/officeart/2005/8/layout/process2"/>
    <dgm:cxn modelId="{A1BA4353-E45B-46CA-8D0C-49953A8B83B3}" type="presParOf" srcId="{492AF956-F719-422D-9244-7729846A0ADF}" destId="{D49DFB90-1383-44F2-BB66-0887BCA7C4E5}" srcOrd="10" destOrd="0" presId="urn:microsoft.com/office/officeart/2005/8/layout/process2"/>
    <dgm:cxn modelId="{36DDE16C-A136-4917-A343-3246F0EB8BD5}" type="presParOf" srcId="{492AF956-F719-422D-9244-7729846A0ADF}" destId="{B22BB23F-E05B-4013-81BD-85F13AFDE6D1}" srcOrd="11" destOrd="0" presId="urn:microsoft.com/office/officeart/2005/8/layout/process2"/>
    <dgm:cxn modelId="{958D7147-CF4E-45D3-9873-4FB45E5FDDEA}" type="presParOf" srcId="{B22BB23F-E05B-4013-81BD-85F13AFDE6D1}" destId="{3C47B04F-CBBD-4ADD-A6BE-15EEB39DBB7F}" srcOrd="0" destOrd="0" presId="urn:microsoft.com/office/officeart/2005/8/layout/process2"/>
    <dgm:cxn modelId="{6F961A88-760D-4D13-BF67-B46D5892026C}" type="presParOf" srcId="{492AF956-F719-422D-9244-7729846A0ADF}" destId="{CD5751FF-25F1-44FE-B9E8-824DB4F14981}" srcOrd="12" destOrd="0" presId="urn:microsoft.com/office/officeart/2005/8/layout/process2"/>
    <dgm:cxn modelId="{8A6E5044-8595-4CA4-9D7D-97D15CB26D17}" type="presParOf" srcId="{492AF956-F719-422D-9244-7729846A0ADF}" destId="{28AF62BE-D6B0-493F-B896-8629ECF24A49}" srcOrd="13" destOrd="0" presId="urn:microsoft.com/office/officeart/2005/8/layout/process2"/>
    <dgm:cxn modelId="{9B112278-15B2-4042-B975-3F5EF0D5F358}" type="presParOf" srcId="{28AF62BE-D6B0-493F-B896-8629ECF24A49}" destId="{D1E38222-CE22-4A67-AEEE-B8A0996FDF5D}" srcOrd="0" destOrd="0" presId="urn:microsoft.com/office/officeart/2005/8/layout/process2"/>
    <dgm:cxn modelId="{45AE001B-1164-4F4F-A155-CB08DFCD4F91}" type="presParOf" srcId="{492AF956-F719-422D-9244-7729846A0ADF}" destId="{76E90E60-5B19-4029-8BE8-12C0FAC09B4F}" srcOrd="14" destOrd="0" presId="urn:microsoft.com/office/officeart/2005/8/layout/process2"/>
    <dgm:cxn modelId="{2D68788A-7FF2-4330-AB72-93771A46B5F4}" type="presParOf" srcId="{492AF956-F719-422D-9244-7729846A0ADF}" destId="{A84114DE-6569-47D6-AD13-3BDCDD5C3236}" srcOrd="15" destOrd="0" presId="urn:microsoft.com/office/officeart/2005/8/layout/process2"/>
    <dgm:cxn modelId="{A71D7557-4C6E-419C-9768-425D4BB06AE6}" type="presParOf" srcId="{A84114DE-6569-47D6-AD13-3BDCDD5C3236}" destId="{EB198668-65DF-4501-B2F3-20013C293CC4}" srcOrd="0" destOrd="0" presId="urn:microsoft.com/office/officeart/2005/8/layout/process2"/>
    <dgm:cxn modelId="{34C1776F-6616-4493-B7E6-5252B639FD39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BDF57D2-257C-4DDF-B4B5-2637CE7B21E8}" type="doc">
      <dgm:prSet loTypeId="urn:microsoft.com/office/officeart/2005/8/layout/matrix1" loCatId="matrix" qsTypeId="urn:microsoft.com/office/officeart/2005/8/quickstyle/3d3" qsCatId="3D" csTypeId="urn:microsoft.com/office/officeart/2005/8/colors/accent1_1" csCatId="accent1" phldr="1"/>
      <dgm:spPr/>
      <dgm:t>
        <a:bodyPr/>
        <a:lstStyle/>
        <a:p>
          <a:endParaRPr lang="fr-FR"/>
        </a:p>
      </dgm:t>
    </dgm:pt>
    <dgm:pt modelId="{48E4BC37-AB8B-4357-8808-03EE4FC552D5}">
      <dgm:prSet phldrT="[Texte]" custT="1"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B w="165100" h="254000"/>
        </a:sp3d>
      </dgm:spPr>
      <dgm:t>
        <a:bodyPr/>
        <a:lstStyle/>
        <a:p>
          <a:r>
            <a:rPr lang="fr-FR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" panose="020B0604020202020204"/>
            </a:rPr>
            <a:t>Faire des erreurs de diagnostic</a:t>
          </a:r>
          <a:endParaRPr lang="fr-FR" sz="2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Gill Sans" panose="020B0604020202020204"/>
          </a:endParaRPr>
        </a:p>
      </dgm:t>
    </dgm:pt>
    <dgm:pt modelId="{1629CEAF-54F9-4DCB-B742-0C59A6F479EE}" type="parTrans" cxnId="{02732BFE-E42C-4E95-B3F8-868D0568EA76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C49DF44F-8BC3-4099-9640-0E57473BF7BC}" type="sibTrans" cxnId="{02732BFE-E42C-4E95-B3F8-868D0568EA76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52DEA198-C508-482D-BC58-0BA5D6CD2AF6}">
      <dgm:prSet phldrT="[Texte]" custT="1"/>
      <dgm:spPr/>
      <dgm:t>
        <a:bodyPr/>
        <a:lstStyle/>
        <a:p>
          <a:r>
            <a:rPr lang="fr-FR" sz="2400" dirty="0" smtClean="0">
              <a:latin typeface="Gill Sans" panose="020B0604020202020204"/>
            </a:rPr>
            <a:t>Froisser le collaborateur</a:t>
          </a:r>
        </a:p>
      </dgm:t>
    </dgm:pt>
    <dgm:pt modelId="{2BCD7EAC-8891-44F2-BC95-F98D0E5CAC16}" type="parTrans" cxnId="{B0580422-F8D6-4AF6-A5F0-1A2E1D0B6803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147ECFE5-7B96-4ECB-80CF-68BD53E223F6}" type="sibTrans" cxnId="{B0580422-F8D6-4AF6-A5F0-1A2E1D0B6803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A07A082E-1B17-4565-88C6-AE7B1619F162}">
      <dgm:prSet phldrT="[Texte]" custT="1"/>
      <dgm:spPr/>
      <dgm:t>
        <a:bodyPr/>
        <a:lstStyle/>
        <a:p>
          <a:r>
            <a:rPr lang="fr-FR" sz="2400" dirty="0" smtClean="0">
              <a:latin typeface="Gill Sans" panose="020B0604020202020204"/>
            </a:rPr>
            <a:t>Donner de mauvaise direction</a:t>
          </a:r>
        </a:p>
      </dgm:t>
    </dgm:pt>
    <dgm:pt modelId="{BA65B91A-2221-419A-86BD-E4749A1687DC}" type="parTrans" cxnId="{36ED19B5-12AF-4336-81AF-619B738D34DE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EAE2E3F9-6480-4F3C-A06C-960078D30FBE}" type="sibTrans" cxnId="{36ED19B5-12AF-4336-81AF-619B738D34DE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46F6C6C2-0A9C-48E4-B8CA-71B1205B878E}">
      <dgm:prSet phldrT="[Texte]" custT="1"/>
      <dgm:spPr/>
      <dgm:t>
        <a:bodyPr/>
        <a:lstStyle/>
        <a:p>
          <a:r>
            <a:rPr lang="fr-FR" sz="2400" dirty="0" smtClean="0">
              <a:latin typeface="Gill Sans" panose="020B0604020202020204"/>
            </a:rPr>
            <a:t>Rompre le dialogue</a:t>
          </a:r>
          <a:endParaRPr lang="fr-FR" sz="2400" dirty="0">
            <a:latin typeface="Gill Sans" panose="020B0604020202020204"/>
          </a:endParaRPr>
        </a:p>
      </dgm:t>
    </dgm:pt>
    <dgm:pt modelId="{A3C47BED-8E44-4221-8524-D68D7EBE9AD2}" type="parTrans" cxnId="{C8D05903-596B-47FE-B402-738932C7ABB3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B8A5B196-CD49-4116-AE50-7503E0115F83}" type="sibTrans" cxnId="{C8D05903-596B-47FE-B402-738932C7ABB3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B69B3826-CCAA-489B-BE91-9154AD9F4F98}">
      <dgm:prSet phldrT="[Texte]" custT="1"/>
      <dgm:spPr/>
      <dgm:t>
        <a:bodyPr/>
        <a:lstStyle/>
        <a:p>
          <a:r>
            <a:rPr lang="fr-FR" sz="2400" dirty="0" smtClean="0">
              <a:latin typeface="Gill Sans" panose="020B0604020202020204"/>
            </a:rPr>
            <a:t>Conflit / Rupture de la relation</a:t>
          </a:r>
          <a:endParaRPr lang="fr-FR" sz="2400" dirty="0">
            <a:latin typeface="Gill Sans" panose="020B0604020202020204"/>
          </a:endParaRPr>
        </a:p>
      </dgm:t>
    </dgm:pt>
    <dgm:pt modelId="{BA204EAC-803D-43BD-9AFD-B00A7105D498}" type="parTrans" cxnId="{1015811F-0F03-4C8A-A614-26530BC28C70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85E045F8-3947-4796-9825-94D76F26A687}" type="sibTrans" cxnId="{1015811F-0F03-4C8A-A614-26530BC28C70}">
      <dgm:prSet/>
      <dgm:spPr/>
      <dgm:t>
        <a:bodyPr/>
        <a:lstStyle/>
        <a:p>
          <a:endParaRPr lang="fr-FR" sz="2000">
            <a:solidFill>
              <a:schemeClr val="tx1"/>
            </a:solidFill>
            <a:latin typeface="+mj-lt"/>
          </a:endParaRPr>
        </a:p>
      </dgm:t>
    </dgm:pt>
    <dgm:pt modelId="{65CC18BB-8ACD-4830-9454-007104E5BE51}" type="pres">
      <dgm:prSet presAssocID="{CBDF57D2-257C-4DDF-B4B5-2637CE7B21E8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E79B421-96BF-4667-9857-209CF14E48E9}" type="pres">
      <dgm:prSet presAssocID="{CBDF57D2-257C-4DDF-B4B5-2637CE7B21E8}" presName="matrix" presStyleCnt="0"/>
      <dgm:spPr/>
      <dgm:t>
        <a:bodyPr/>
        <a:lstStyle/>
        <a:p>
          <a:endParaRPr lang="fr-FR"/>
        </a:p>
      </dgm:t>
    </dgm:pt>
    <dgm:pt modelId="{171118D0-064F-4B2D-88CD-8876207323B8}" type="pres">
      <dgm:prSet presAssocID="{CBDF57D2-257C-4DDF-B4B5-2637CE7B21E8}" presName="tile1" presStyleLbl="node1" presStyleIdx="0" presStyleCnt="4" custLinFactNeighborX="-20486" custLinFactNeighborY="-6311"/>
      <dgm:spPr/>
      <dgm:t>
        <a:bodyPr/>
        <a:lstStyle/>
        <a:p>
          <a:endParaRPr lang="fr-FR"/>
        </a:p>
      </dgm:t>
    </dgm:pt>
    <dgm:pt modelId="{FFB4B938-3587-4576-9518-3B280675C622}" type="pres">
      <dgm:prSet presAssocID="{CBDF57D2-257C-4DDF-B4B5-2637CE7B21E8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8B024EB-7E13-4E60-8AA6-21932FAD2073}" type="pres">
      <dgm:prSet presAssocID="{CBDF57D2-257C-4DDF-B4B5-2637CE7B21E8}" presName="tile2" presStyleLbl="node1" presStyleIdx="1" presStyleCnt="4"/>
      <dgm:spPr/>
      <dgm:t>
        <a:bodyPr/>
        <a:lstStyle/>
        <a:p>
          <a:endParaRPr lang="fr-FR"/>
        </a:p>
      </dgm:t>
    </dgm:pt>
    <dgm:pt modelId="{A7D8332D-BE31-4DBE-BDD0-C666D2A2D885}" type="pres">
      <dgm:prSet presAssocID="{CBDF57D2-257C-4DDF-B4B5-2637CE7B21E8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A9625A0-880D-400B-9F0B-A80B4AC833C2}" type="pres">
      <dgm:prSet presAssocID="{CBDF57D2-257C-4DDF-B4B5-2637CE7B21E8}" presName="tile3" presStyleLbl="node1" presStyleIdx="2" presStyleCnt="4"/>
      <dgm:spPr/>
      <dgm:t>
        <a:bodyPr/>
        <a:lstStyle/>
        <a:p>
          <a:endParaRPr lang="fr-FR"/>
        </a:p>
      </dgm:t>
    </dgm:pt>
    <dgm:pt modelId="{12B3AC25-A0CE-4B97-B579-EDF925C29653}" type="pres">
      <dgm:prSet presAssocID="{CBDF57D2-257C-4DDF-B4B5-2637CE7B21E8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2DF7426-C9A0-4FC8-9687-E9BD11583CA2}" type="pres">
      <dgm:prSet presAssocID="{CBDF57D2-257C-4DDF-B4B5-2637CE7B21E8}" presName="tile4" presStyleLbl="node1" presStyleIdx="3" presStyleCnt="4" custLinFactNeighborX="4725" custLinFactNeighborY="3544"/>
      <dgm:spPr/>
      <dgm:t>
        <a:bodyPr/>
        <a:lstStyle/>
        <a:p>
          <a:endParaRPr lang="fr-FR"/>
        </a:p>
      </dgm:t>
    </dgm:pt>
    <dgm:pt modelId="{D6E457B0-B7FC-4120-B9D2-2F796A7FB439}" type="pres">
      <dgm:prSet presAssocID="{CBDF57D2-257C-4DDF-B4B5-2637CE7B21E8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BB55450-B7E6-4429-B737-DC884792730E}" type="pres">
      <dgm:prSet presAssocID="{CBDF57D2-257C-4DDF-B4B5-2637CE7B21E8}" presName="centerTile" presStyleLbl="fgShp" presStyleIdx="0" presStyleCnt="1" custScaleX="149623" custScaleY="155923">
        <dgm:presLayoutVars>
          <dgm:chMax val="0"/>
          <dgm:chPref val="0"/>
        </dgm:presLayoutVars>
      </dgm:prSet>
      <dgm:spPr>
        <a:prstGeom prst="flowChartPreparation">
          <a:avLst/>
        </a:prstGeom>
      </dgm:spPr>
      <dgm:t>
        <a:bodyPr/>
        <a:lstStyle/>
        <a:p>
          <a:endParaRPr lang="fr-FR"/>
        </a:p>
      </dgm:t>
    </dgm:pt>
  </dgm:ptLst>
  <dgm:cxnLst>
    <dgm:cxn modelId="{FAD171BB-EE5D-4638-8258-18FF1C8B8A2A}" type="presOf" srcId="{52DEA198-C508-482D-BC58-0BA5D6CD2AF6}" destId="{171118D0-064F-4B2D-88CD-8876207323B8}" srcOrd="0" destOrd="0" presId="urn:microsoft.com/office/officeart/2005/8/layout/matrix1"/>
    <dgm:cxn modelId="{36ED19B5-12AF-4336-81AF-619B738D34DE}" srcId="{48E4BC37-AB8B-4357-8808-03EE4FC552D5}" destId="{A07A082E-1B17-4565-88C6-AE7B1619F162}" srcOrd="1" destOrd="0" parTransId="{BA65B91A-2221-419A-86BD-E4749A1687DC}" sibTransId="{EAE2E3F9-6480-4F3C-A06C-960078D30FBE}"/>
    <dgm:cxn modelId="{B0580422-F8D6-4AF6-A5F0-1A2E1D0B6803}" srcId="{48E4BC37-AB8B-4357-8808-03EE4FC552D5}" destId="{52DEA198-C508-482D-BC58-0BA5D6CD2AF6}" srcOrd="0" destOrd="0" parTransId="{2BCD7EAC-8891-44F2-BC95-F98D0E5CAC16}" sibTransId="{147ECFE5-7B96-4ECB-80CF-68BD53E223F6}"/>
    <dgm:cxn modelId="{C8D05903-596B-47FE-B402-738932C7ABB3}" srcId="{48E4BC37-AB8B-4357-8808-03EE4FC552D5}" destId="{46F6C6C2-0A9C-48E4-B8CA-71B1205B878E}" srcOrd="2" destOrd="0" parTransId="{A3C47BED-8E44-4221-8524-D68D7EBE9AD2}" sibTransId="{B8A5B196-CD49-4116-AE50-7503E0115F83}"/>
    <dgm:cxn modelId="{183C6115-030E-43B9-8915-F1F56A645CAE}" type="presOf" srcId="{A07A082E-1B17-4565-88C6-AE7B1619F162}" destId="{58B024EB-7E13-4E60-8AA6-21932FAD2073}" srcOrd="0" destOrd="0" presId="urn:microsoft.com/office/officeart/2005/8/layout/matrix1"/>
    <dgm:cxn modelId="{EA470E76-3E4F-4CE1-851B-2AB0A943731D}" type="presOf" srcId="{B69B3826-CCAA-489B-BE91-9154AD9F4F98}" destId="{92DF7426-C9A0-4FC8-9687-E9BD11583CA2}" srcOrd="0" destOrd="0" presId="urn:microsoft.com/office/officeart/2005/8/layout/matrix1"/>
    <dgm:cxn modelId="{02732BFE-E42C-4E95-B3F8-868D0568EA76}" srcId="{CBDF57D2-257C-4DDF-B4B5-2637CE7B21E8}" destId="{48E4BC37-AB8B-4357-8808-03EE4FC552D5}" srcOrd="0" destOrd="0" parTransId="{1629CEAF-54F9-4DCB-B742-0C59A6F479EE}" sibTransId="{C49DF44F-8BC3-4099-9640-0E57473BF7BC}"/>
    <dgm:cxn modelId="{8391CA43-35B6-4BBA-83F9-36E88361707A}" type="presOf" srcId="{52DEA198-C508-482D-BC58-0BA5D6CD2AF6}" destId="{FFB4B938-3587-4576-9518-3B280675C622}" srcOrd="1" destOrd="0" presId="urn:microsoft.com/office/officeart/2005/8/layout/matrix1"/>
    <dgm:cxn modelId="{D04CA51D-3788-49F5-8533-EC262B3D6BA4}" type="presOf" srcId="{B69B3826-CCAA-489B-BE91-9154AD9F4F98}" destId="{D6E457B0-B7FC-4120-B9D2-2F796A7FB439}" srcOrd="1" destOrd="0" presId="urn:microsoft.com/office/officeart/2005/8/layout/matrix1"/>
    <dgm:cxn modelId="{D41EE6A6-896D-403E-89DD-707FCEDB7916}" type="presOf" srcId="{CBDF57D2-257C-4DDF-B4B5-2637CE7B21E8}" destId="{65CC18BB-8ACD-4830-9454-007104E5BE51}" srcOrd="0" destOrd="0" presId="urn:microsoft.com/office/officeart/2005/8/layout/matrix1"/>
    <dgm:cxn modelId="{78D7C501-20CA-4816-AEEA-0D76FB90693E}" type="presOf" srcId="{46F6C6C2-0A9C-48E4-B8CA-71B1205B878E}" destId="{3A9625A0-880D-400B-9F0B-A80B4AC833C2}" srcOrd="0" destOrd="0" presId="urn:microsoft.com/office/officeart/2005/8/layout/matrix1"/>
    <dgm:cxn modelId="{1CEA5FBE-80F0-4426-87C3-6E583222E9C4}" type="presOf" srcId="{48E4BC37-AB8B-4357-8808-03EE4FC552D5}" destId="{FBB55450-B7E6-4429-B737-DC884792730E}" srcOrd="0" destOrd="0" presId="urn:microsoft.com/office/officeart/2005/8/layout/matrix1"/>
    <dgm:cxn modelId="{4670FC2B-71D2-440A-9028-741FED2B7068}" type="presOf" srcId="{46F6C6C2-0A9C-48E4-B8CA-71B1205B878E}" destId="{12B3AC25-A0CE-4B97-B579-EDF925C29653}" srcOrd="1" destOrd="0" presId="urn:microsoft.com/office/officeart/2005/8/layout/matrix1"/>
    <dgm:cxn modelId="{1015811F-0F03-4C8A-A614-26530BC28C70}" srcId="{48E4BC37-AB8B-4357-8808-03EE4FC552D5}" destId="{B69B3826-CCAA-489B-BE91-9154AD9F4F98}" srcOrd="3" destOrd="0" parTransId="{BA204EAC-803D-43BD-9AFD-B00A7105D498}" sibTransId="{85E045F8-3947-4796-9825-94D76F26A687}"/>
    <dgm:cxn modelId="{A5B25B37-F74D-4E23-B0F7-5FEDD64D33D2}" type="presOf" srcId="{A07A082E-1B17-4565-88C6-AE7B1619F162}" destId="{A7D8332D-BE31-4DBE-BDD0-C666D2A2D885}" srcOrd="1" destOrd="0" presId="urn:microsoft.com/office/officeart/2005/8/layout/matrix1"/>
    <dgm:cxn modelId="{AB4F4DE8-6AF0-4D77-BE7D-ED8FB841CD1B}" type="presParOf" srcId="{65CC18BB-8ACD-4830-9454-007104E5BE51}" destId="{BE79B421-96BF-4667-9857-209CF14E48E9}" srcOrd="0" destOrd="0" presId="urn:microsoft.com/office/officeart/2005/8/layout/matrix1"/>
    <dgm:cxn modelId="{CC2F1B9C-ABDE-4380-9D31-5ED63001FE6F}" type="presParOf" srcId="{BE79B421-96BF-4667-9857-209CF14E48E9}" destId="{171118D0-064F-4B2D-88CD-8876207323B8}" srcOrd="0" destOrd="0" presId="urn:microsoft.com/office/officeart/2005/8/layout/matrix1"/>
    <dgm:cxn modelId="{2154C946-CC00-4E1A-B50E-0391DF39896A}" type="presParOf" srcId="{BE79B421-96BF-4667-9857-209CF14E48E9}" destId="{FFB4B938-3587-4576-9518-3B280675C622}" srcOrd="1" destOrd="0" presId="urn:microsoft.com/office/officeart/2005/8/layout/matrix1"/>
    <dgm:cxn modelId="{115732B7-F90B-45BF-B190-14987E5FB9BC}" type="presParOf" srcId="{BE79B421-96BF-4667-9857-209CF14E48E9}" destId="{58B024EB-7E13-4E60-8AA6-21932FAD2073}" srcOrd="2" destOrd="0" presId="urn:microsoft.com/office/officeart/2005/8/layout/matrix1"/>
    <dgm:cxn modelId="{EF04BF0C-6E79-4EE5-A764-A01600145C66}" type="presParOf" srcId="{BE79B421-96BF-4667-9857-209CF14E48E9}" destId="{A7D8332D-BE31-4DBE-BDD0-C666D2A2D885}" srcOrd="3" destOrd="0" presId="urn:microsoft.com/office/officeart/2005/8/layout/matrix1"/>
    <dgm:cxn modelId="{E10719C6-8850-4D6B-9565-C566774B45AC}" type="presParOf" srcId="{BE79B421-96BF-4667-9857-209CF14E48E9}" destId="{3A9625A0-880D-400B-9F0B-A80B4AC833C2}" srcOrd="4" destOrd="0" presId="urn:microsoft.com/office/officeart/2005/8/layout/matrix1"/>
    <dgm:cxn modelId="{E856AB98-153C-4F7B-9637-11DA5DF16DB2}" type="presParOf" srcId="{BE79B421-96BF-4667-9857-209CF14E48E9}" destId="{12B3AC25-A0CE-4B97-B579-EDF925C29653}" srcOrd="5" destOrd="0" presId="urn:microsoft.com/office/officeart/2005/8/layout/matrix1"/>
    <dgm:cxn modelId="{EA2611E7-257A-4891-AA46-D3B41FB283DC}" type="presParOf" srcId="{BE79B421-96BF-4667-9857-209CF14E48E9}" destId="{92DF7426-C9A0-4FC8-9687-E9BD11583CA2}" srcOrd="6" destOrd="0" presId="urn:microsoft.com/office/officeart/2005/8/layout/matrix1"/>
    <dgm:cxn modelId="{3FDA464E-C42B-460B-A239-B1C4EEE0CBF4}" type="presParOf" srcId="{BE79B421-96BF-4667-9857-209CF14E48E9}" destId="{D6E457B0-B7FC-4120-B9D2-2F796A7FB439}" srcOrd="7" destOrd="0" presId="urn:microsoft.com/office/officeart/2005/8/layout/matrix1"/>
    <dgm:cxn modelId="{32B09D8D-E647-4E5E-B0C0-33818C8D9E9D}" type="presParOf" srcId="{65CC18BB-8ACD-4830-9454-007104E5BE51}" destId="{FBB55450-B7E6-4429-B737-DC884792730E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Cas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C453B00-E5AF-4A68-9610-7D74583B8F80}" type="presOf" srcId="{FDFF01D2-F3CC-4D2C-A015-471198A0D6C7}" destId="{0DFF998B-AB70-42CB-B86E-F2EDC6F014F8}" srcOrd="0" destOrd="0" presId="urn:microsoft.com/office/officeart/2005/8/layout/process2"/>
    <dgm:cxn modelId="{16A43E75-0A83-4AB0-B900-151E96E27FD1}" type="presOf" srcId="{F6B57F0F-2727-4614-A7FD-35FD6FCAF6E6}" destId="{219009EE-9B51-4162-9EBA-7B83AECF4795}" srcOrd="1" destOrd="0" presId="urn:microsoft.com/office/officeart/2005/8/layout/process2"/>
    <dgm:cxn modelId="{4104739C-CD74-4702-BCC0-EE57A28E120E}" type="presOf" srcId="{FDFF01D2-F3CC-4D2C-A015-471198A0D6C7}" destId="{98E1D376-F99A-44C4-8AC9-E145DB47BC54}" srcOrd="1" destOrd="0" presId="urn:microsoft.com/office/officeart/2005/8/layout/process2"/>
    <dgm:cxn modelId="{7D5656A4-40EE-482D-8A71-F7A6DA1420DB}" type="presOf" srcId="{E5A0750E-9076-4558-8E66-C53A1107536F}" destId="{A84114DE-6569-47D6-AD13-3BDCDD5C3236}" srcOrd="0" destOrd="0" presId="urn:microsoft.com/office/officeart/2005/8/layout/process2"/>
    <dgm:cxn modelId="{D21B44EB-F626-4FD0-B34D-13CBE6115DE5}" type="presOf" srcId="{F7237CAD-458A-4DEE-BE25-3568BFF65879}" destId="{ADF04F16-ABFC-4DEA-9719-FE2EDEC087DE}" srcOrd="1" destOrd="0" presId="urn:microsoft.com/office/officeart/2005/8/layout/process2"/>
    <dgm:cxn modelId="{29C4C16D-197C-4CA0-8B13-38AF37A7F92C}" type="presOf" srcId="{2AE408E0-1AF5-4F80-BFA2-F6C645A283D4}" destId="{5351E9FE-A558-447E-A302-DBACA0DF592D}" srcOrd="1" destOrd="0" presId="urn:microsoft.com/office/officeart/2005/8/layout/process2"/>
    <dgm:cxn modelId="{BF69FA5E-B5D9-409E-B426-EFF338F1BB52}" type="presOf" srcId="{E5D2D304-F13F-4199-9163-2AD87DD91923}" destId="{85F2BDF6-F9F8-41DC-9874-6F84B6C7034A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F1169C41-2BEE-4571-A5D1-6963A0C6FBD0}" type="presOf" srcId="{A1FA66E9-6B47-43A9-A691-995B4B7D915F}" destId="{CD5751FF-25F1-44FE-B9E8-824DB4F14981}" srcOrd="0" destOrd="0" presId="urn:microsoft.com/office/officeart/2005/8/layout/process2"/>
    <dgm:cxn modelId="{3524A494-56CF-4CFB-8379-0FD7718C1D2B}" type="presOf" srcId="{65ADC171-D76B-4DA2-9796-3C9108575BCF}" destId="{4FD2053B-5A77-4D34-8C66-D50B8724D81E}" srcOrd="0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97DA0223-462B-4CE6-B568-9A218CF87FEE}" type="presOf" srcId="{294402DA-D638-4BA1-B669-C7A658DFF56C}" destId="{2E1F2D2C-88F0-4727-80FE-ADD5804EF2B7}" srcOrd="0" destOrd="0" presId="urn:microsoft.com/office/officeart/2005/8/layout/process2"/>
    <dgm:cxn modelId="{A8FF3862-80CF-4720-87DC-C39428A07B58}" type="presOf" srcId="{1AB6682E-C77A-48CC-818B-2A7EC3934804}" destId="{76E90E60-5B19-4029-8BE8-12C0FAC09B4F}" srcOrd="0" destOrd="0" presId="urn:microsoft.com/office/officeart/2005/8/layout/process2"/>
    <dgm:cxn modelId="{76ACEE26-23D4-44C7-902C-8497FBD9146F}" type="presOf" srcId="{F6B57F0F-2727-4614-A7FD-35FD6FCAF6E6}" destId="{6C27A5CC-5F13-4059-9AE7-C0A63DD7EC7E}" srcOrd="0" destOrd="0" presId="urn:microsoft.com/office/officeart/2005/8/layout/process2"/>
    <dgm:cxn modelId="{62A9A866-08CB-46E1-8ABA-A73C5AD3130E}" type="presOf" srcId="{CC0749E6-31F7-4C9D-B494-AD9D61032896}" destId="{3C47B04F-CBBD-4ADD-A6BE-15EEB39DBB7F}" srcOrd="1" destOrd="0" presId="urn:microsoft.com/office/officeart/2005/8/layout/process2"/>
    <dgm:cxn modelId="{69572B40-9F7C-4030-B4C5-3C5DAC82CB13}" type="presOf" srcId="{2A49C2D7-12D0-4518-BC98-A3272820B530}" destId="{564A9C2A-4DC0-4B71-8BDC-7615D299EDCD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EF012E60-165A-4702-A967-9F22C868BB45}" type="presOf" srcId="{78DC5BE3-9B5F-4CD7-B0EC-6566CDEFFE79}" destId="{D1E38222-CE22-4A67-AEEE-B8A0996FDF5D}" srcOrd="1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C071F528-56DE-443F-89F9-8F98D733374C}" type="presOf" srcId="{550E20B0-80A8-42F2-BFE2-A3961B05A02A}" destId="{3D35B79B-418E-472B-B684-1ACC0A6CC011}" srcOrd="0" destOrd="0" presId="urn:microsoft.com/office/officeart/2005/8/layout/process2"/>
    <dgm:cxn modelId="{EBA3F989-0F29-4BD0-A21B-10603EA4512A}" type="presOf" srcId="{2CEC1776-9DE4-48EC-8B3A-CE30A34C08A8}" destId="{44B7898F-5A22-4319-8D85-0B72C2EF45F9}" srcOrd="0" destOrd="0" presId="urn:microsoft.com/office/officeart/2005/8/layout/process2"/>
    <dgm:cxn modelId="{9C323163-E68B-4368-99FA-72E85A912A76}" type="presOf" srcId="{9C241770-5D57-447B-B2C6-700BC348595B}" destId="{7EF63230-6818-417B-9423-2B2909FB868A}" srcOrd="0" destOrd="0" presId="urn:microsoft.com/office/officeart/2005/8/layout/process2"/>
    <dgm:cxn modelId="{522BC87F-9DB3-45AE-8A6B-D986BE9A283C}" type="presOf" srcId="{CC0749E6-31F7-4C9D-B494-AD9D61032896}" destId="{B22BB23F-E05B-4013-81BD-85F13AFDE6D1}" srcOrd="0" destOrd="0" presId="urn:microsoft.com/office/officeart/2005/8/layout/process2"/>
    <dgm:cxn modelId="{1808CD2E-C1C9-412E-A925-A2D508227400}" type="presOf" srcId="{78DC5BE3-9B5F-4CD7-B0EC-6566CDEFFE79}" destId="{28AF62BE-D6B0-493F-B896-8629ECF24A49}" srcOrd="0" destOrd="0" presId="urn:microsoft.com/office/officeart/2005/8/layout/process2"/>
    <dgm:cxn modelId="{A3AD522D-6DBF-4C28-B235-A2E63CA4AD0B}" type="presOf" srcId="{EAE0BE0B-47C3-4CD6-817F-ECFB5232CEF3}" destId="{492AF956-F719-422D-9244-7729846A0ADF}" srcOrd="0" destOrd="0" presId="urn:microsoft.com/office/officeart/2005/8/layout/process2"/>
    <dgm:cxn modelId="{792A20C8-9D0B-42E1-B6FC-5BC9AED64FB2}" type="presOf" srcId="{2AE408E0-1AF5-4F80-BFA2-F6C645A283D4}" destId="{F9790B67-A8A7-47D4-8E75-D889EA350148}" srcOrd="0" destOrd="0" presId="urn:microsoft.com/office/officeart/2005/8/layout/process2"/>
    <dgm:cxn modelId="{02394668-6226-4020-8AAF-AC2FD7AB8283}" type="presOf" srcId="{F7237CAD-458A-4DEE-BE25-3568BFF65879}" destId="{6C1BCA69-22CF-4F05-B914-357F6B8C02D5}" srcOrd="0" destOrd="0" presId="urn:microsoft.com/office/officeart/2005/8/layout/process2"/>
    <dgm:cxn modelId="{2B9745B9-B092-4A04-B79C-C2F4D8EEDCF7}" type="presOf" srcId="{9EFE1160-C5B7-455D-AE24-A575AB41076E}" destId="{D49DFB90-1383-44F2-BB66-0887BCA7C4E5}" srcOrd="0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C3B90D89-4CAB-4A96-A436-10FC93D63D37}" type="presOf" srcId="{2CEC1776-9DE4-48EC-8B3A-CE30A34C08A8}" destId="{408A314B-8D14-452B-BB30-A6CDFBC7604D}" srcOrd="1" destOrd="0" presId="urn:microsoft.com/office/officeart/2005/8/layout/process2"/>
    <dgm:cxn modelId="{05696177-1B1C-4CC4-A82A-0FE1760B1BF1}" type="presOf" srcId="{E5A0750E-9076-4558-8E66-C53A1107536F}" destId="{EB198668-65DF-4501-B2F3-20013C293CC4}" srcOrd="1" destOrd="0" presId="urn:microsoft.com/office/officeart/2005/8/layout/process2"/>
    <dgm:cxn modelId="{C5C71BA7-878C-485D-809A-7927112F9B44}" type="presParOf" srcId="{492AF956-F719-422D-9244-7729846A0ADF}" destId="{85F2BDF6-F9F8-41DC-9874-6F84B6C7034A}" srcOrd="0" destOrd="0" presId="urn:microsoft.com/office/officeart/2005/8/layout/process2"/>
    <dgm:cxn modelId="{52A85126-359E-40C0-B1EA-3D1D10AAB017}" type="presParOf" srcId="{492AF956-F719-422D-9244-7729846A0ADF}" destId="{44B7898F-5A22-4319-8D85-0B72C2EF45F9}" srcOrd="1" destOrd="0" presId="urn:microsoft.com/office/officeart/2005/8/layout/process2"/>
    <dgm:cxn modelId="{D998950D-7019-43A4-9F07-A8F58929E8F8}" type="presParOf" srcId="{44B7898F-5A22-4319-8D85-0B72C2EF45F9}" destId="{408A314B-8D14-452B-BB30-A6CDFBC7604D}" srcOrd="0" destOrd="0" presId="urn:microsoft.com/office/officeart/2005/8/layout/process2"/>
    <dgm:cxn modelId="{043F2A3B-440C-4B5B-8F0E-2DAD7FC35EAC}" type="presParOf" srcId="{492AF956-F719-422D-9244-7729846A0ADF}" destId="{3D35B79B-418E-472B-B684-1ACC0A6CC011}" srcOrd="2" destOrd="0" presId="urn:microsoft.com/office/officeart/2005/8/layout/process2"/>
    <dgm:cxn modelId="{371035B2-F2D5-4F24-B6FC-35A9A367902D}" type="presParOf" srcId="{492AF956-F719-422D-9244-7729846A0ADF}" destId="{6C27A5CC-5F13-4059-9AE7-C0A63DD7EC7E}" srcOrd="3" destOrd="0" presId="urn:microsoft.com/office/officeart/2005/8/layout/process2"/>
    <dgm:cxn modelId="{D2BDA28E-25A6-493F-9AE6-6FFFDA0CD3D8}" type="presParOf" srcId="{6C27A5CC-5F13-4059-9AE7-C0A63DD7EC7E}" destId="{219009EE-9B51-4162-9EBA-7B83AECF4795}" srcOrd="0" destOrd="0" presId="urn:microsoft.com/office/officeart/2005/8/layout/process2"/>
    <dgm:cxn modelId="{055781CD-7C24-47E9-ADA2-4CA0C15A80EF}" type="presParOf" srcId="{492AF956-F719-422D-9244-7729846A0ADF}" destId="{4FD2053B-5A77-4D34-8C66-D50B8724D81E}" srcOrd="4" destOrd="0" presId="urn:microsoft.com/office/officeart/2005/8/layout/process2"/>
    <dgm:cxn modelId="{184AF401-1D0F-4553-BFCA-FEF7C1AAAE65}" type="presParOf" srcId="{492AF956-F719-422D-9244-7729846A0ADF}" destId="{F9790B67-A8A7-47D4-8E75-D889EA350148}" srcOrd="5" destOrd="0" presId="urn:microsoft.com/office/officeart/2005/8/layout/process2"/>
    <dgm:cxn modelId="{319AF59F-2EDC-4687-9934-82463A40D645}" type="presParOf" srcId="{F9790B67-A8A7-47D4-8E75-D889EA350148}" destId="{5351E9FE-A558-447E-A302-DBACA0DF592D}" srcOrd="0" destOrd="0" presId="urn:microsoft.com/office/officeart/2005/8/layout/process2"/>
    <dgm:cxn modelId="{FF40FBCF-1185-4B34-BAC4-891C0B487BAF}" type="presParOf" srcId="{492AF956-F719-422D-9244-7729846A0ADF}" destId="{7EF63230-6818-417B-9423-2B2909FB868A}" srcOrd="6" destOrd="0" presId="urn:microsoft.com/office/officeart/2005/8/layout/process2"/>
    <dgm:cxn modelId="{8DE1873E-3B2F-4567-9B89-9E4A2B763BC3}" type="presParOf" srcId="{492AF956-F719-422D-9244-7729846A0ADF}" destId="{6C1BCA69-22CF-4F05-B914-357F6B8C02D5}" srcOrd="7" destOrd="0" presId="urn:microsoft.com/office/officeart/2005/8/layout/process2"/>
    <dgm:cxn modelId="{16398C8A-9F7B-49A8-8DC3-B5120C5CA37B}" type="presParOf" srcId="{6C1BCA69-22CF-4F05-B914-357F6B8C02D5}" destId="{ADF04F16-ABFC-4DEA-9719-FE2EDEC087DE}" srcOrd="0" destOrd="0" presId="urn:microsoft.com/office/officeart/2005/8/layout/process2"/>
    <dgm:cxn modelId="{5C40BF04-F94A-4E24-B042-2CECD38E5B0B}" type="presParOf" srcId="{492AF956-F719-422D-9244-7729846A0ADF}" destId="{564A9C2A-4DC0-4B71-8BDC-7615D299EDCD}" srcOrd="8" destOrd="0" presId="urn:microsoft.com/office/officeart/2005/8/layout/process2"/>
    <dgm:cxn modelId="{25F3EAD0-328F-47FC-9457-4EF80FEBA6D0}" type="presParOf" srcId="{492AF956-F719-422D-9244-7729846A0ADF}" destId="{0DFF998B-AB70-42CB-B86E-F2EDC6F014F8}" srcOrd="9" destOrd="0" presId="urn:microsoft.com/office/officeart/2005/8/layout/process2"/>
    <dgm:cxn modelId="{545144E1-56FD-4E2E-B713-C97F64C0A213}" type="presParOf" srcId="{0DFF998B-AB70-42CB-B86E-F2EDC6F014F8}" destId="{98E1D376-F99A-44C4-8AC9-E145DB47BC54}" srcOrd="0" destOrd="0" presId="urn:microsoft.com/office/officeart/2005/8/layout/process2"/>
    <dgm:cxn modelId="{AD0AE4CE-5571-46D5-A0BD-01658EB10F76}" type="presParOf" srcId="{492AF956-F719-422D-9244-7729846A0ADF}" destId="{D49DFB90-1383-44F2-BB66-0887BCA7C4E5}" srcOrd="10" destOrd="0" presId="urn:microsoft.com/office/officeart/2005/8/layout/process2"/>
    <dgm:cxn modelId="{4ED8B35B-5F5A-4633-9027-4856ACEBBFF6}" type="presParOf" srcId="{492AF956-F719-422D-9244-7729846A0ADF}" destId="{B22BB23F-E05B-4013-81BD-85F13AFDE6D1}" srcOrd="11" destOrd="0" presId="urn:microsoft.com/office/officeart/2005/8/layout/process2"/>
    <dgm:cxn modelId="{B675ABD6-AFA7-4446-B25A-461DCCA6E38C}" type="presParOf" srcId="{B22BB23F-E05B-4013-81BD-85F13AFDE6D1}" destId="{3C47B04F-CBBD-4ADD-A6BE-15EEB39DBB7F}" srcOrd="0" destOrd="0" presId="urn:microsoft.com/office/officeart/2005/8/layout/process2"/>
    <dgm:cxn modelId="{8038E6BB-7C0E-4B42-9A74-C08928348331}" type="presParOf" srcId="{492AF956-F719-422D-9244-7729846A0ADF}" destId="{CD5751FF-25F1-44FE-B9E8-824DB4F14981}" srcOrd="12" destOrd="0" presId="urn:microsoft.com/office/officeart/2005/8/layout/process2"/>
    <dgm:cxn modelId="{B3DB9F02-DF8A-425F-9E2F-0D369785194A}" type="presParOf" srcId="{492AF956-F719-422D-9244-7729846A0ADF}" destId="{28AF62BE-D6B0-493F-B896-8629ECF24A49}" srcOrd="13" destOrd="0" presId="urn:microsoft.com/office/officeart/2005/8/layout/process2"/>
    <dgm:cxn modelId="{BB295FD7-E0C6-49CF-BF39-347030E31790}" type="presParOf" srcId="{28AF62BE-D6B0-493F-B896-8629ECF24A49}" destId="{D1E38222-CE22-4A67-AEEE-B8A0996FDF5D}" srcOrd="0" destOrd="0" presId="urn:microsoft.com/office/officeart/2005/8/layout/process2"/>
    <dgm:cxn modelId="{20535B06-E82E-4583-AF01-0B189FB160D3}" type="presParOf" srcId="{492AF956-F719-422D-9244-7729846A0ADF}" destId="{76E90E60-5B19-4029-8BE8-12C0FAC09B4F}" srcOrd="14" destOrd="0" presId="urn:microsoft.com/office/officeart/2005/8/layout/process2"/>
    <dgm:cxn modelId="{C4A7FE4E-B781-4AE3-B740-5DECEB76FE27}" type="presParOf" srcId="{492AF956-F719-422D-9244-7729846A0ADF}" destId="{A84114DE-6569-47D6-AD13-3BDCDD5C3236}" srcOrd="15" destOrd="0" presId="urn:microsoft.com/office/officeart/2005/8/layout/process2"/>
    <dgm:cxn modelId="{610C582C-97AE-4EEB-A94A-AAF9A23EE783}" type="presParOf" srcId="{A84114DE-6569-47D6-AD13-3BDCDD5C3236}" destId="{EB198668-65DF-4501-B2F3-20013C293CC4}" srcOrd="0" destOrd="0" presId="urn:microsoft.com/office/officeart/2005/8/layout/process2"/>
    <dgm:cxn modelId="{87D28606-4906-49CB-9C1B-3A5B87C12FCC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1 :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 Définition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du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3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: Méthodes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de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Cas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Etapes du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Savoir-être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Savoir-faire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9EFE1160-C5B7-455D-AE24-A575AB41076E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Phase 2 </a:t>
          </a:r>
          <a:r>
            <a:rPr lang="fr-FR" sz="95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: Risques </a:t>
          </a:r>
          <a:r>
            <a:rPr lang="fr-FR" sz="95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du coaching</a:t>
          </a:r>
          <a:endParaRPr lang="fr-FR" sz="950" dirty="0">
            <a:solidFill>
              <a:schemeClr val="bg1"/>
            </a:solidFill>
            <a:latin typeface="Gill Sans" panose="020B0604020202020204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Quand coacher ?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Types de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812ED6CF-EC4D-4BBE-993E-08A9786EE066}" type="presOf" srcId="{294402DA-D638-4BA1-B669-C7A658DFF56C}" destId="{2E1F2D2C-88F0-4727-80FE-ADD5804EF2B7}" srcOrd="0" destOrd="0" presId="urn:microsoft.com/office/officeart/2005/8/layout/process2"/>
    <dgm:cxn modelId="{4F81D172-9771-4043-BF1C-3CD889DEAD90}" type="presOf" srcId="{2AE408E0-1AF5-4F80-BFA2-F6C645A283D4}" destId="{F9790B67-A8A7-47D4-8E75-D889EA350148}" srcOrd="0" destOrd="0" presId="urn:microsoft.com/office/officeart/2005/8/layout/process2"/>
    <dgm:cxn modelId="{776E2851-6B58-4D0A-B71E-07EFE984FB3D}" type="presOf" srcId="{F7237CAD-458A-4DEE-BE25-3568BFF65879}" destId="{6C1BCA69-22CF-4F05-B914-357F6B8C02D5}" srcOrd="0" destOrd="0" presId="urn:microsoft.com/office/officeart/2005/8/layout/process2"/>
    <dgm:cxn modelId="{0E770D53-E2F1-4500-81EC-850A35185564}" type="presOf" srcId="{FDFF01D2-F3CC-4D2C-A015-471198A0D6C7}" destId="{0DFF998B-AB70-42CB-B86E-F2EDC6F014F8}" srcOrd="0" destOrd="0" presId="urn:microsoft.com/office/officeart/2005/8/layout/process2"/>
    <dgm:cxn modelId="{F027DC70-F2F3-4B26-8955-47DA732AA155}" type="presOf" srcId="{9EFE1160-C5B7-455D-AE24-A575AB41076E}" destId="{D49DFB90-1383-44F2-BB66-0887BCA7C4E5}" srcOrd="0" destOrd="0" presId="urn:microsoft.com/office/officeart/2005/8/layout/process2"/>
    <dgm:cxn modelId="{88AC11FB-D124-4BF8-9A82-551D3ECAB7E3}" type="presOf" srcId="{550E20B0-80A8-42F2-BFE2-A3961B05A02A}" destId="{3D35B79B-418E-472B-B684-1ACC0A6CC011}" srcOrd="0" destOrd="0" presId="urn:microsoft.com/office/officeart/2005/8/layout/process2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8DE498C7-E156-48B3-B553-1D6D17B01184}" type="presOf" srcId="{F6B57F0F-2727-4614-A7FD-35FD6FCAF6E6}" destId="{6C27A5CC-5F13-4059-9AE7-C0A63DD7EC7E}" srcOrd="0" destOrd="0" presId="urn:microsoft.com/office/officeart/2005/8/layout/process2"/>
    <dgm:cxn modelId="{CC2650F7-1D53-4542-A723-FE01B1FA24F1}" type="presOf" srcId="{FDFF01D2-F3CC-4D2C-A015-471198A0D6C7}" destId="{98E1D376-F99A-44C4-8AC9-E145DB47BC54}" srcOrd="1" destOrd="0" presId="urn:microsoft.com/office/officeart/2005/8/layout/process2"/>
    <dgm:cxn modelId="{7E8C3DE6-0541-4454-BE9D-B3A61B6B16A2}" type="presOf" srcId="{1AB6682E-C77A-48CC-818B-2A7EC3934804}" destId="{76E90E60-5B19-4029-8BE8-12C0FAC09B4F}" srcOrd="0" destOrd="0" presId="urn:microsoft.com/office/officeart/2005/8/layout/process2"/>
    <dgm:cxn modelId="{35316783-CDFE-49AB-A237-C188467ED711}" type="presOf" srcId="{F7237CAD-458A-4DEE-BE25-3568BFF65879}" destId="{ADF04F16-ABFC-4DEA-9719-FE2EDEC087DE}" srcOrd="1" destOrd="0" presId="urn:microsoft.com/office/officeart/2005/8/layout/process2"/>
    <dgm:cxn modelId="{57151346-17F1-475F-AD98-7BE48093FBF1}" type="presOf" srcId="{2A49C2D7-12D0-4518-BC98-A3272820B530}" destId="{564A9C2A-4DC0-4B71-8BDC-7615D299EDCD}" srcOrd="0" destOrd="0" presId="urn:microsoft.com/office/officeart/2005/8/layout/process2"/>
    <dgm:cxn modelId="{130A4E99-CA26-4F23-A4C7-AA20A2A0163F}" type="presOf" srcId="{2AE408E0-1AF5-4F80-BFA2-F6C645A283D4}" destId="{5351E9FE-A558-447E-A302-DBACA0DF592D}" srcOrd="1" destOrd="0" presId="urn:microsoft.com/office/officeart/2005/8/layout/process2"/>
    <dgm:cxn modelId="{3EC913A7-2F51-4A43-A67B-5EEAE2CEFD21}" type="presOf" srcId="{E5A0750E-9076-4558-8E66-C53A1107536F}" destId="{A84114DE-6569-47D6-AD13-3BDCDD5C3236}" srcOrd="0" destOrd="0" presId="urn:microsoft.com/office/officeart/2005/8/layout/process2"/>
    <dgm:cxn modelId="{B43CAC14-6932-48C2-82A5-674815F60E4C}" type="presOf" srcId="{CC0749E6-31F7-4C9D-B494-AD9D61032896}" destId="{B22BB23F-E05B-4013-81BD-85F13AFDE6D1}" srcOrd="0" destOrd="0" presId="urn:microsoft.com/office/officeart/2005/8/layout/process2"/>
    <dgm:cxn modelId="{A638AE49-E7C2-41D6-89B7-586D97EF6CCF}" type="presOf" srcId="{2CEC1776-9DE4-48EC-8B3A-CE30A34C08A8}" destId="{44B7898F-5A22-4319-8D85-0B72C2EF45F9}" srcOrd="0" destOrd="0" presId="urn:microsoft.com/office/officeart/2005/8/layout/process2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B614909F-6ED7-4306-989E-B2523AEC3025}" type="presOf" srcId="{78DC5BE3-9B5F-4CD7-B0EC-6566CDEFFE79}" destId="{28AF62BE-D6B0-493F-B896-8629ECF24A49}" srcOrd="0" destOrd="0" presId="urn:microsoft.com/office/officeart/2005/8/layout/process2"/>
    <dgm:cxn modelId="{7F4AB2DA-EBB2-4526-9657-53F36136E3DA}" type="presOf" srcId="{E5D2D304-F13F-4199-9163-2AD87DD91923}" destId="{85F2BDF6-F9F8-41DC-9874-6F84B6C7034A}" srcOrd="0" destOrd="0" presId="urn:microsoft.com/office/officeart/2005/8/layout/process2"/>
    <dgm:cxn modelId="{B4DFE419-EF0D-4772-B324-37227B3B96F6}" type="presOf" srcId="{A1FA66E9-6B47-43A9-A691-995B4B7D915F}" destId="{CD5751FF-25F1-44FE-B9E8-824DB4F14981}" srcOrd="0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6452C853-E1E7-4B87-B3D6-14B469DD16AD}" type="presOf" srcId="{F6B57F0F-2727-4614-A7FD-35FD6FCAF6E6}" destId="{219009EE-9B51-4162-9EBA-7B83AECF4795}" srcOrd="1" destOrd="0" presId="urn:microsoft.com/office/officeart/2005/8/layout/process2"/>
    <dgm:cxn modelId="{D5A7CEF7-1B1B-433A-8E9D-B9C98BE9ACA8}" type="presOf" srcId="{EAE0BE0B-47C3-4CD6-817F-ECFB5232CEF3}" destId="{492AF956-F719-422D-9244-7729846A0ADF}" srcOrd="0" destOrd="0" presId="urn:microsoft.com/office/officeart/2005/8/layout/process2"/>
    <dgm:cxn modelId="{BE027BE0-FE85-499F-BF56-2875D3671027}" type="presOf" srcId="{9C241770-5D57-447B-B2C6-700BC348595B}" destId="{7EF63230-6818-417B-9423-2B2909FB868A}" srcOrd="0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0FA3C91B-4B06-4D95-9C4E-9BE256E7A9CB}" type="presOf" srcId="{CC0749E6-31F7-4C9D-B494-AD9D61032896}" destId="{3C47B04F-CBBD-4ADD-A6BE-15EEB39DBB7F}" srcOrd="1" destOrd="0" presId="urn:microsoft.com/office/officeart/2005/8/layout/process2"/>
    <dgm:cxn modelId="{21BCFC50-E425-41FD-B8A6-6D8FF3574D8E}" type="presOf" srcId="{78DC5BE3-9B5F-4CD7-B0EC-6566CDEFFE79}" destId="{D1E38222-CE22-4A67-AEEE-B8A0996FDF5D}" srcOrd="1" destOrd="0" presId="urn:microsoft.com/office/officeart/2005/8/layout/process2"/>
    <dgm:cxn modelId="{57220C25-5617-4737-9014-971FB209CB9D}" type="presOf" srcId="{E5A0750E-9076-4558-8E66-C53A1107536F}" destId="{EB198668-65DF-4501-B2F3-20013C293CC4}" srcOrd="1" destOrd="0" presId="urn:microsoft.com/office/officeart/2005/8/layout/process2"/>
    <dgm:cxn modelId="{9D8CBFD6-BA2F-47F9-987C-0BF051B242BF}" type="presOf" srcId="{2CEC1776-9DE4-48EC-8B3A-CE30A34C08A8}" destId="{408A314B-8D14-452B-BB30-A6CDFBC7604D}" srcOrd="1" destOrd="0" presId="urn:microsoft.com/office/officeart/2005/8/layout/process2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BF14BBD3-6683-4BF7-81B8-7315888E25EF}" type="presOf" srcId="{65ADC171-D76B-4DA2-9796-3C9108575BCF}" destId="{4FD2053B-5A77-4D34-8C66-D50B8724D81E}" srcOrd="0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0EC86C9C-80D9-4867-BC96-FE6CCD42A77B}" type="presParOf" srcId="{492AF956-F719-422D-9244-7729846A0ADF}" destId="{85F2BDF6-F9F8-41DC-9874-6F84B6C7034A}" srcOrd="0" destOrd="0" presId="urn:microsoft.com/office/officeart/2005/8/layout/process2"/>
    <dgm:cxn modelId="{888FF449-2E8D-44D4-9E0B-7EB131CABDC2}" type="presParOf" srcId="{492AF956-F719-422D-9244-7729846A0ADF}" destId="{44B7898F-5A22-4319-8D85-0B72C2EF45F9}" srcOrd="1" destOrd="0" presId="urn:microsoft.com/office/officeart/2005/8/layout/process2"/>
    <dgm:cxn modelId="{98D3C4A8-DB97-493C-B4B4-9374F761764D}" type="presParOf" srcId="{44B7898F-5A22-4319-8D85-0B72C2EF45F9}" destId="{408A314B-8D14-452B-BB30-A6CDFBC7604D}" srcOrd="0" destOrd="0" presId="urn:microsoft.com/office/officeart/2005/8/layout/process2"/>
    <dgm:cxn modelId="{FB850FD3-570F-4FB5-A756-971AF0FBB32C}" type="presParOf" srcId="{492AF956-F719-422D-9244-7729846A0ADF}" destId="{3D35B79B-418E-472B-B684-1ACC0A6CC011}" srcOrd="2" destOrd="0" presId="urn:microsoft.com/office/officeart/2005/8/layout/process2"/>
    <dgm:cxn modelId="{316BA3DD-CBBB-419E-8E6F-2406ACD8DDA8}" type="presParOf" srcId="{492AF956-F719-422D-9244-7729846A0ADF}" destId="{6C27A5CC-5F13-4059-9AE7-C0A63DD7EC7E}" srcOrd="3" destOrd="0" presId="urn:microsoft.com/office/officeart/2005/8/layout/process2"/>
    <dgm:cxn modelId="{5BEEE296-E923-4126-A0C6-BCC5D98099DC}" type="presParOf" srcId="{6C27A5CC-5F13-4059-9AE7-C0A63DD7EC7E}" destId="{219009EE-9B51-4162-9EBA-7B83AECF4795}" srcOrd="0" destOrd="0" presId="urn:microsoft.com/office/officeart/2005/8/layout/process2"/>
    <dgm:cxn modelId="{136DDF56-1187-4910-AB8B-F6CC96D2808F}" type="presParOf" srcId="{492AF956-F719-422D-9244-7729846A0ADF}" destId="{4FD2053B-5A77-4D34-8C66-D50B8724D81E}" srcOrd="4" destOrd="0" presId="urn:microsoft.com/office/officeart/2005/8/layout/process2"/>
    <dgm:cxn modelId="{5E7B6D54-9B37-477C-A139-8F3BB6E14756}" type="presParOf" srcId="{492AF956-F719-422D-9244-7729846A0ADF}" destId="{F9790B67-A8A7-47D4-8E75-D889EA350148}" srcOrd="5" destOrd="0" presId="urn:microsoft.com/office/officeart/2005/8/layout/process2"/>
    <dgm:cxn modelId="{2B307581-A895-48D5-BD00-5B358B7686FE}" type="presParOf" srcId="{F9790B67-A8A7-47D4-8E75-D889EA350148}" destId="{5351E9FE-A558-447E-A302-DBACA0DF592D}" srcOrd="0" destOrd="0" presId="urn:microsoft.com/office/officeart/2005/8/layout/process2"/>
    <dgm:cxn modelId="{3A030C81-EAA1-4740-B269-04E1A88CDC55}" type="presParOf" srcId="{492AF956-F719-422D-9244-7729846A0ADF}" destId="{7EF63230-6818-417B-9423-2B2909FB868A}" srcOrd="6" destOrd="0" presId="urn:microsoft.com/office/officeart/2005/8/layout/process2"/>
    <dgm:cxn modelId="{3170AA2F-08FB-431D-B0CA-BF7E696487E8}" type="presParOf" srcId="{492AF956-F719-422D-9244-7729846A0ADF}" destId="{6C1BCA69-22CF-4F05-B914-357F6B8C02D5}" srcOrd="7" destOrd="0" presId="urn:microsoft.com/office/officeart/2005/8/layout/process2"/>
    <dgm:cxn modelId="{AC982825-246F-4669-AEFA-B7027D88A638}" type="presParOf" srcId="{6C1BCA69-22CF-4F05-B914-357F6B8C02D5}" destId="{ADF04F16-ABFC-4DEA-9719-FE2EDEC087DE}" srcOrd="0" destOrd="0" presId="urn:microsoft.com/office/officeart/2005/8/layout/process2"/>
    <dgm:cxn modelId="{2A044090-F2E2-41AA-88EC-1B530D87562A}" type="presParOf" srcId="{492AF956-F719-422D-9244-7729846A0ADF}" destId="{564A9C2A-4DC0-4B71-8BDC-7615D299EDCD}" srcOrd="8" destOrd="0" presId="urn:microsoft.com/office/officeart/2005/8/layout/process2"/>
    <dgm:cxn modelId="{064D7D80-5EAB-485E-B101-D6A3C931C4E7}" type="presParOf" srcId="{492AF956-F719-422D-9244-7729846A0ADF}" destId="{0DFF998B-AB70-42CB-B86E-F2EDC6F014F8}" srcOrd="9" destOrd="0" presId="urn:microsoft.com/office/officeart/2005/8/layout/process2"/>
    <dgm:cxn modelId="{18631DF3-7FC6-40E5-88D5-E23B2A9A8C43}" type="presParOf" srcId="{0DFF998B-AB70-42CB-B86E-F2EDC6F014F8}" destId="{98E1D376-F99A-44C4-8AC9-E145DB47BC54}" srcOrd="0" destOrd="0" presId="urn:microsoft.com/office/officeart/2005/8/layout/process2"/>
    <dgm:cxn modelId="{B95A88E0-32C3-4839-935B-A95C585A154B}" type="presParOf" srcId="{492AF956-F719-422D-9244-7729846A0ADF}" destId="{D49DFB90-1383-44F2-BB66-0887BCA7C4E5}" srcOrd="10" destOrd="0" presId="urn:microsoft.com/office/officeart/2005/8/layout/process2"/>
    <dgm:cxn modelId="{8F47A2F7-5FDB-4104-B547-F06D87D95300}" type="presParOf" srcId="{492AF956-F719-422D-9244-7729846A0ADF}" destId="{B22BB23F-E05B-4013-81BD-85F13AFDE6D1}" srcOrd="11" destOrd="0" presId="urn:microsoft.com/office/officeart/2005/8/layout/process2"/>
    <dgm:cxn modelId="{18BD5092-0C75-46F9-9E91-EDAB4AA855F5}" type="presParOf" srcId="{B22BB23F-E05B-4013-81BD-85F13AFDE6D1}" destId="{3C47B04F-CBBD-4ADD-A6BE-15EEB39DBB7F}" srcOrd="0" destOrd="0" presId="urn:microsoft.com/office/officeart/2005/8/layout/process2"/>
    <dgm:cxn modelId="{8C80C3CB-136E-4E8A-959A-60BAD54DE347}" type="presParOf" srcId="{492AF956-F719-422D-9244-7729846A0ADF}" destId="{CD5751FF-25F1-44FE-B9E8-824DB4F14981}" srcOrd="12" destOrd="0" presId="urn:microsoft.com/office/officeart/2005/8/layout/process2"/>
    <dgm:cxn modelId="{700AD3A2-2E10-4DF9-8548-917405CDE947}" type="presParOf" srcId="{492AF956-F719-422D-9244-7729846A0ADF}" destId="{28AF62BE-D6B0-493F-B896-8629ECF24A49}" srcOrd="13" destOrd="0" presId="urn:microsoft.com/office/officeart/2005/8/layout/process2"/>
    <dgm:cxn modelId="{C7EF0EAB-7C91-4D94-AA22-5581FFD8A804}" type="presParOf" srcId="{28AF62BE-D6B0-493F-B896-8629ECF24A49}" destId="{D1E38222-CE22-4A67-AEEE-B8A0996FDF5D}" srcOrd="0" destOrd="0" presId="urn:microsoft.com/office/officeart/2005/8/layout/process2"/>
    <dgm:cxn modelId="{39672F32-4EBE-44E0-9897-A470823D509F}" type="presParOf" srcId="{492AF956-F719-422D-9244-7729846A0ADF}" destId="{76E90E60-5B19-4029-8BE8-12C0FAC09B4F}" srcOrd="14" destOrd="0" presId="urn:microsoft.com/office/officeart/2005/8/layout/process2"/>
    <dgm:cxn modelId="{AFEB4847-21CF-4495-A99E-534199FC794E}" type="presParOf" srcId="{492AF956-F719-422D-9244-7729846A0ADF}" destId="{A84114DE-6569-47D6-AD13-3BDCDD5C3236}" srcOrd="15" destOrd="0" presId="urn:microsoft.com/office/officeart/2005/8/layout/process2"/>
    <dgm:cxn modelId="{690FCB90-1B49-4B4A-8838-57D98325157F}" type="presParOf" srcId="{A84114DE-6569-47D6-AD13-3BDCDD5C3236}" destId="{EB198668-65DF-4501-B2F3-20013C293CC4}" srcOrd="0" destOrd="0" presId="urn:microsoft.com/office/officeart/2005/8/layout/process2"/>
    <dgm:cxn modelId="{C6AAFC38-0F93-4071-8B50-9975FC439198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2C8CEAF-ACA0-4344-B309-E792769BA495}" type="presOf" srcId="{E5A0750E-9076-4558-8E66-C53A1107536F}" destId="{A84114DE-6569-47D6-AD13-3BDCDD5C3236}" srcOrd="0" destOrd="0" presId="urn:microsoft.com/office/officeart/2005/8/layout/process2"/>
    <dgm:cxn modelId="{9699C9EC-9610-40C6-BEE9-B9E0C3498223}" type="presOf" srcId="{2CEC1776-9DE4-48EC-8B3A-CE30A34C08A8}" destId="{408A314B-8D14-452B-BB30-A6CDFBC7604D}" srcOrd="1" destOrd="0" presId="urn:microsoft.com/office/officeart/2005/8/layout/process2"/>
    <dgm:cxn modelId="{01B9D687-3E1D-4C7E-995C-E57268710880}" type="presOf" srcId="{9EFE1160-C5B7-455D-AE24-A575AB41076E}" destId="{D49DFB90-1383-44F2-BB66-0887BCA7C4E5}" srcOrd="0" destOrd="0" presId="urn:microsoft.com/office/officeart/2005/8/layout/process2"/>
    <dgm:cxn modelId="{940C1548-6AE9-403C-8B5A-C76FA5F43965}" type="presOf" srcId="{2AE408E0-1AF5-4F80-BFA2-F6C645A283D4}" destId="{5351E9FE-A558-447E-A302-DBACA0DF592D}" srcOrd="1" destOrd="0" presId="urn:microsoft.com/office/officeart/2005/8/layout/process2"/>
    <dgm:cxn modelId="{FC19B4E5-64C4-4DC3-A239-79AFE4B8BB73}" type="presOf" srcId="{65ADC171-D76B-4DA2-9796-3C9108575BCF}" destId="{4FD2053B-5A77-4D34-8C66-D50B8724D81E}" srcOrd="0" destOrd="0" presId="urn:microsoft.com/office/officeart/2005/8/layout/process2"/>
    <dgm:cxn modelId="{37F5A1AA-22E7-4979-94F9-057C1C8D39EC}" type="presOf" srcId="{F7237CAD-458A-4DEE-BE25-3568BFF65879}" destId="{ADF04F16-ABFC-4DEA-9719-FE2EDEC087DE}" srcOrd="1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0D196185-A9B2-4CAE-8D82-91093EA399F7}" type="presOf" srcId="{294402DA-D638-4BA1-B669-C7A658DFF56C}" destId="{2E1F2D2C-88F0-4727-80FE-ADD5804EF2B7}" srcOrd="0" destOrd="0" presId="urn:microsoft.com/office/officeart/2005/8/layout/process2"/>
    <dgm:cxn modelId="{F8DBC626-BDDC-439B-8AEE-4A5042E5B122}" type="presOf" srcId="{550E20B0-80A8-42F2-BFE2-A3961B05A02A}" destId="{3D35B79B-418E-472B-B684-1ACC0A6CC011}" srcOrd="0" destOrd="0" presId="urn:microsoft.com/office/officeart/2005/8/layout/process2"/>
    <dgm:cxn modelId="{3549AE26-B429-4D0E-9708-71CBFE630AB8}" type="presOf" srcId="{2CEC1776-9DE4-48EC-8B3A-CE30A34C08A8}" destId="{44B7898F-5A22-4319-8D85-0B72C2EF45F9}" srcOrd="0" destOrd="0" presId="urn:microsoft.com/office/officeart/2005/8/layout/process2"/>
    <dgm:cxn modelId="{2BDD43A7-FD4D-4AF1-BA69-FCAD3DB8D685}" type="presOf" srcId="{CC0749E6-31F7-4C9D-B494-AD9D61032896}" destId="{B22BB23F-E05B-4013-81BD-85F13AFDE6D1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BB693BFA-58D6-42AA-81CF-70A20C5A801D}" type="presOf" srcId="{E5A0750E-9076-4558-8E66-C53A1107536F}" destId="{EB198668-65DF-4501-B2F3-20013C293CC4}" srcOrd="1" destOrd="0" presId="urn:microsoft.com/office/officeart/2005/8/layout/process2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9E6E94DF-85B4-484C-B233-07CD9470FCB3}" type="presOf" srcId="{2AE408E0-1AF5-4F80-BFA2-F6C645A283D4}" destId="{F9790B67-A8A7-47D4-8E75-D889EA350148}" srcOrd="0" destOrd="0" presId="urn:microsoft.com/office/officeart/2005/8/layout/process2"/>
    <dgm:cxn modelId="{4CEF841C-53C4-4D4F-8006-ABE0077FFA29}" type="presOf" srcId="{EAE0BE0B-47C3-4CD6-817F-ECFB5232CEF3}" destId="{492AF956-F719-422D-9244-7729846A0ADF}" srcOrd="0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7BE721A5-050B-4003-B97C-639111FB1DE5}" type="presOf" srcId="{FDFF01D2-F3CC-4D2C-A015-471198A0D6C7}" destId="{0DFF998B-AB70-42CB-B86E-F2EDC6F014F8}" srcOrd="0" destOrd="0" presId="urn:microsoft.com/office/officeart/2005/8/layout/process2"/>
    <dgm:cxn modelId="{BA519357-8966-4BCA-B666-227EC9288AA1}" type="presOf" srcId="{CC0749E6-31F7-4C9D-B494-AD9D61032896}" destId="{3C47B04F-CBBD-4ADD-A6BE-15EEB39DBB7F}" srcOrd="1" destOrd="0" presId="urn:microsoft.com/office/officeart/2005/8/layout/process2"/>
    <dgm:cxn modelId="{49086714-EA13-4AA4-917F-287A1055BAAC}" type="presOf" srcId="{F6B57F0F-2727-4614-A7FD-35FD6FCAF6E6}" destId="{6C27A5CC-5F13-4059-9AE7-C0A63DD7EC7E}" srcOrd="0" destOrd="0" presId="urn:microsoft.com/office/officeart/2005/8/layout/process2"/>
    <dgm:cxn modelId="{3A5F4493-C948-4D19-A236-88A27222D348}" type="presOf" srcId="{E5D2D304-F13F-4199-9163-2AD87DD91923}" destId="{85F2BDF6-F9F8-41DC-9874-6F84B6C7034A}" srcOrd="0" destOrd="0" presId="urn:microsoft.com/office/officeart/2005/8/layout/process2"/>
    <dgm:cxn modelId="{789797C9-E7CB-4F89-BE61-A36197D8CF57}" type="presOf" srcId="{78DC5BE3-9B5F-4CD7-B0EC-6566CDEFFE79}" destId="{28AF62BE-D6B0-493F-B896-8629ECF24A49}" srcOrd="0" destOrd="0" presId="urn:microsoft.com/office/officeart/2005/8/layout/process2"/>
    <dgm:cxn modelId="{8419FF63-71BB-47ED-9C30-129F13957B25}" type="presOf" srcId="{F7237CAD-458A-4DEE-BE25-3568BFF65879}" destId="{6C1BCA69-22CF-4F05-B914-357F6B8C02D5}" srcOrd="0" destOrd="0" presId="urn:microsoft.com/office/officeart/2005/8/layout/process2"/>
    <dgm:cxn modelId="{F3E3D602-0704-4803-81E2-2E4C378ECFF8}" type="presOf" srcId="{78DC5BE3-9B5F-4CD7-B0EC-6566CDEFFE79}" destId="{D1E38222-CE22-4A67-AEEE-B8A0996FDF5D}" srcOrd="1" destOrd="0" presId="urn:microsoft.com/office/officeart/2005/8/layout/process2"/>
    <dgm:cxn modelId="{3EC205CF-DE61-4917-929C-7B6F9E0FC95E}" type="presOf" srcId="{FDFF01D2-F3CC-4D2C-A015-471198A0D6C7}" destId="{98E1D376-F99A-44C4-8AC9-E145DB47BC54}" srcOrd="1" destOrd="0" presId="urn:microsoft.com/office/officeart/2005/8/layout/process2"/>
    <dgm:cxn modelId="{70ADFE0B-1D3F-4835-A704-3DFE7B8A81A6}" type="presOf" srcId="{1AB6682E-C77A-48CC-818B-2A7EC3934804}" destId="{76E90E60-5B19-4029-8BE8-12C0FAC09B4F}" srcOrd="0" destOrd="0" presId="urn:microsoft.com/office/officeart/2005/8/layout/process2"/>
    <dgm:cxn modelId="{E7867380-FF34-4F0D-9BB9-E525A86860DB}" type="presOf" srcId="{2A49C2D7-12D0-4518-BC98-A3272820B530}" destId="{564A9C2A-4DC0-4B71-8BDC-7615D299EDCD}" srcOrd="0" destOrd="0" presId="urn:microsoft.com/office/officeart/2005/8/layout/process2"/>
    <dgm:cxn modelId="{600FFC99-FFB0-4C38-A763-76BA788D1926}" type="presOf" srcId="{9C241770-5D57-447B-B2C6-700BC348595B}" destId="{7EF63230-6818-417B-9423-2B2909FB868A}" srcOrd="0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2EE53FFE-8CA7-41FB-82FD-4CB5FBE2A76D}" type="presOf" srcId="{F6B57F0F-2727-4614-A7FD-35FD6FCAF6E6}" destId="{219009EE-9B51-4162-9EBA-7B83AECF4795}" srcOrd="1" destOrd="0" presId="urn:microsoft.com/office/officeart/2005/8/layout/process2"/>
    <dgm:cxn modelId="{0E39899A-E427-4968-9362-06C1FACA9196}" type="presOf" srcId="{A1FA66E9-6B47-43A9-A691-995B4B7D915F}" destId="{CD5751FF-25F1-44FE-B9E8-824DB4F14981}" srcOrd="0" destOrd="0" presId="urn:microsoft.com/office/officeart/2005/8/layout/process2"/>
    <dgm:cxn modelId="{9E97836C-97B2-4F19-BD3E-EEB14069871B}" type="presParOf" srcId="{492AF956-F719-422D-9244-7729846A0ADF}" destId="{85F2BDF6-F9F8-41DC-9874-6F84B6C7034A}" srcOrd="0" destOrd="0" presId="urn:microsoft.com/office/officeart/2005/8/layout/process2"/>
    <dgm:cxn modelId="{B145026B-22A5-4667-91F9-01A32EDD531C}" type="presParOf" srcId="{492AF956-F719-422D-9244-7729846A0ADF}" destId="{44B7898F-5A22-4319-8D85-0B72C2EF45F9}" srcOrd="1" destOrd="0" presId="urn:microsoft.com/office/officeart/2005/8/layout/process2"/>
    <dgm:cxn modelId="{5471959F-1250-4F05-9CDD-96EA69D20851}" type="presParOf" srcId="{44B7898F-5A22-4319-8D85-0B72C2EF45F9}" destId="{408A314B-8D14-452B-BB30-A6CDFBC7604D}" srcOrd="0" destOrd="0" presId="urn:microsoft.com/office/officeart/2005/8/layout/process2"/>
    <dgm:cxn modelId="{67162A55-E554-4EEC-893B-228BCEACD11E}" type="presParOf" srcId="{492AF956-F719-422D-9244-7729846A0ADF}" destId="{3D35B79B-418E-472B-B684-1ACC0A6CC011}" srcOrd="2" destOrd="0" presId="urn:microsoft.com/office/officeart/2005/8/layout/process2"/>
    <dgm:cxn modelId="{1C64F25A-6F38-4B04-AC7A-2B6066591BBF}" type="presParOf" srcId="{492AF956-F719-422D-9244-7729846A0ADF}" destId="{6C27A5CC-5F13-4059-9AE7-C0A63DD7EC7E}" srcOrd="3" destOrd="0" presId="urn:microsoft.com/office/officeart/2005/8/layout/process2"/>
    <dgm:cxn modelId="{E587C020-7580-49A3-9BF6-87748B3CB115}" type="presParOf" srcId="{6C27A5CC-5F13-4059-9AE7-C0A63DD7EC7E}" destId="{219009EE-9B51-4162-9EBA-7B83AECF4795}" srcOrd="0" destOrd="0" presId="urn:microsoft.com/office/officeart/2005/8/layout/process2"/>
    <dgm:cxn modelId="{47193FB3-559D-44A1-9865-EB98A78DB760}" type="presParOf" srcId="{492AF956-F719-422D-9244-7729846A0ADF}" destId="{4FD2053B-5A77-4D34-8C66-D50B8724D81E}" srcOrd="4" destOrd="0" presId="urn:microsoft.com/office/officeart/2005/8/layout/process2"/>
    <dgm:cxn modelId="{6C639095-6862-404D-83D9-4BCF95B30195}" type="presParOf" srcId="{492AF956-F719-422D-9244-7729846A0ADF}" destId="{F9790B67-A8A7-47D4-8E75-D889EA350148}" srcOrd="5" destOrd="0" presId="urn:microsoft.com/office/officeart/2005/8/layout/process2"/>
    <dgm:cxn modelId="{F16693ED-7CB0-4587-BED5-349A8B194E94}" type="presParOf" srcId="{F9790B67-A8A7-47D4-8E75-D889EA350148}" destId="{5351E9FE-A558-447E-A302-DBACA0DF592D}" srcOrd="0" destOrd="0" presId="urn:microsoft.com/office/officeart/2005/8/layout/process2"/>
    <dgm:cxn modelId="{2288288B-BDDF-434C-BD01-58F58DC228B1}" type="presParOf" srcId="{492AF956-F719-422D-9244-7729846A0ADF}" destId="{7EF63230-6818-417B-9423-2B2909FB868A}" srcOrd="6" destOrd="0" presId="urn:microsoft.com/office/officeart/2005/8/layout/process2"/>
    <dgm:cxn modelId="{38CFE620-CA89-4A67-9589-BE515E821DF1}" type="presParOf" srcId="{492AF956-F719-422D-9244-7729846A0ADF}" destId="{6C1BCA69-22CF-4F05-B914-357F6B8C02D5}" srcOrd="7" destOrd="0" presId="urn:microsoft.com/office/officeart/2005/8/layout/process2"/>
    <dgm:cxn modelId="{94094C55-346A-4B07-BAC8-199FECB9926B}" type="presParOf" srcId="{6C1BCA69-22CF-4F05-B914-357F6B8C02D5}" destId="{ADF04F16-ABFC-4DEA-9719-FE2EDEC087DE}" srcOrd="0" destOrd="0" presId="urn:microsoft.com/office/officeart/2005/8/layout/process2"/>
    <dgm:cxn modelId="{47145B4F-B71F-4EA4-B6C8-DD7B45C7A578}" type="presParOf" srcId="{492AF956-F719-422D-9244-7729846A0ADF}" destId="{564A9C2A-4DC0-4B71-8BDC-7615D299EDCD}" srcOrd="8" destOrd="0" presId="urn:microsoft.com/office/officeart/2005/8/layout/process2"/>
    <dgm:cxn modelId="{D1FE6D0B-1A54-48A9-BE57-CA367B56414F}" type="presParOf" srcId="{492AF956-F719-422D-9244-7729846A0ADF}" destId="{0DFF998B-AB70-42CB-B86E-F2EDC6F014F8}" srcOrd="9" destOrd="0" presId="urn:microsoft.com/office/officeart/2005/8/layout/process2"/>
    <dgm:cxn modelId="{2D623467-27D7-473F-8D16-A42EF2D7AFBE}" type="presParOf" srcId="{0DFF998B-AB70-42CB-B86E-F2EDC6F014F8}" destId="{98E1D376-F99A-44C4-8AC9-E145DB47BC54}" srcOrd="0" destOrd="0" presId="urn:microsoft.com/office/officeart/2005/8/layout/process2"/>
    <dgm:cxn modelId="{D168A9C4-6354-4451-8CAD-004C4611D4E3}" type="presParOf" srcId="{492AF956-F719-422D-9244-7729846A0ADF}" destId="{D49DFB90-1383-44F2-BB66-0887BCA7C4E5}" srcOrd="10" destOrd="0" presId="urn:microsoft.com/office/officeart/2005/8/layout/process2"/>
    <dgm:cxn modelId="{BA9D2F69-6FBC-46A5-B509-1F184675EC11}" type="presParOf" srcId="{492AF956-F719-422D-9244-7729846A0ADF}" destId="{B22BB23F-E05B-4013-81BD-85F13AFDE6D1}" srcOrd="11" destOrd="0" presId="urn:microsoft.com/office/officeart/2005/8/layout/process2"/>
    <dgm:cxn modelId="{40556793-989E-4DCC-A179-C8D0989EBC7C}" type="presParOf" srcId="{B22BB23F-E05B-4013-81BD-85F13AFDE6D1}" destId="{3C47B04F-CBBD-4ADD-A6BE-15EEB39DBB7F}" srcOrd="0" destOrd="0" presId="urn:microsoft.com/office/officeart/2005/8/layout/process2"/>
    <dgm:cxn modelId="{EDDD0586-9B27-441F-857C-F1EAF6AD6EFA}" type="presParOf" srcId="{492AF956-F719-422D-9244-7729846A0ADF}" destId="{CD5751FF-25F1-44FE-B9E8-824DB4F14981}" srcOrd="12" destOrd="0" presId="urn:microsoft.com/office/officeart/2005/8/layout/process2"/>
    <dgm:cxn modelId="{9B02D713-4D55-44E9-8EE5-2F8249D6D3F9}" type="presParOf" srcId="{492AF956-F719-422D-9244-7729846A0ADF}" destId="{28AF62BE-D6B0-493F-B896-8629ECF24A49}" srcOrd="13" destOrd="0" presId="urn:microsoft.com/office/officeart/2005/8/layout/process2"/>
    <dgm:cxn modelId="{B1935A64-6C66-43EA-BA90-CBFB559C3699}" type="presParOf" srcId="{28AF62BE-D6B0-493F-B896-8629ECF24A49}" destId="{D1E38222-CE22-4A67-AEEE-B8A0996FDF5D}" srcOrd="0" destOrd="0" presId="urn:microsoft.com/office/officeart/2005/8/layout/process2"/>
    <dgm:cxn modelId="{F8451FDA-031B-48D5-9F3D-CA8F2F5EA849}" type="presParOf" srcId="{492AF956-F719-422D-9244-7729846A0ADF}" destId="{76E90E60-5B19-4029-8BE8-12C0FAC09B4F}" srcOrd="14" destOrd="0" presId="urn:microsoft.com/office/officeart/2005/8/layout/process2"/>
    <dgm:cxn modelId="{25776872-F894-4EFE-8F14-244DCC5AD9B9}" type="presParOf" srcId="{492AF956-F719-422D-9244-7729846A0ADF}" destId="{A84114DE-6569-47D6-AD13-3BDCDD5C3236}" srcOrd="15" destOrd="0" presId="urn:microsoft.com/office/officeart/2005/8/layout/process2"/>
    <dgm:cxn modelId="{220615BE-1EE6-4F30-9235-23DA58EDEEED}" type="presParOf" srcId="{A84114DE-6569-47D6-AD13-3BDCDD5C3236}" destId="{EB198668-65DF-4501-B2F3-20013C293CC4}" srcOrd="0" destOrd="0" presId="urn:microsoft.com/office/officeart/2005/8/layout/process2"/>
    <dgm:cxn modelId="{E679134A-14B3-4F0E-BBB8-FE644559D28D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B9EB8F7-F333-4071-954F-6B19ECA0FAA7}" type="presOf" srcId="{2A49C2D7-12D0-4518-BC98-A3272820B530}" destId="{564A9C2A-4DC0-4B71-8BDC-7615D299EDCD}" srcOrd="0" destOrd="0" presId="urn:microsoft.com/office/officeart/2005/8/layout/process2"/>
    <dgm:cxn modelId="{7D62C219-CE1E-4D85-84E5-81408DB1DDD2}" type="presOf" srcId="{1AB6682E-C77A-48CC-818B-2A7EC3934804}" destId="{76E90E60-5B19-4029-8BE8-12C0FAC09B4F}" srcOrd="0" destOrd="0" presId="urn:microsoft.com/office/officeart/2005/8/layout/process2"/>
    <dgm:cxn modelId="{19CFA357-52BD-44C7-9782-CF7C4CD25656}" type="presOf" srcId="{9C241770-5D57-447B-B2C6-700BC348595B}" destId="{7EF63230-6818-417B-9423-2B2909FB868A}" srcOrd="0" destOrd="0" presId="urn:microsoft.com/office/officeart/2005/8/layout/process2"/>
    <dgm:cxn modelId="{26D2D365-DEFB-4255-BFC2-A2EBD4393F63}" type="presOf" srcId="{F7237CAD-458A-4DEE-BE25-3568BFF65879}" destId="{6C1BCA69-22CF-4F05-B914-357F6B8C02D5}" srcOrd="0" destOrd="0" presId="urn:microsoft.com/office/officeart/2005/8/layout/process2"/>
    <dgm:cxn modelId="{4628B459-25F7-4F6E-AE2D-48BD82F6C1E4}" type="presOf" srcId="{2AE408E0-1AF5-4F80-BFA2-F6C645A283D4}" destId="{5351E9FE-A558-447E-A302-DBACA0DF592D}" srcOrd="1" destOrd="0" presId="urn:microsoft.com/office/officeart/2005/8/layout/process2"/>
    <dgm:cxn modelId="{CF0A36D0-542A-4DD2-B789-17CE67488A83}" type="presOf" srcId="{550E20B0-80A8-42F2-BFE2-A3961B05A02A}" destId="{3D35B79B-418E-472B-B684-1ACC0A6CC011}" srcOrd="0" destOrd="0" presId="urn:microsoft.com/office/officeart/2005/8/layout/process2"/>
    <dgm:cxn modelId="{3BCED1BE-6267-4177-859C-5130AF727361}" type="presOf" srcId="{EAE0BE0B-47C3-4CD6-817F-ECFB5232CEF3}" destId="{492AF956-F719-422D-9244-7729846A0ADF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0507C0B7-B0B4-4A60-B371-2275E12BC76B}" type="presOf" srcId="{F6B57F0F-2727-4614-A7FD-35FD6FCAF6E6}" destId="{6C27A5CC-5F13-4059-9AE7-C0A63DD7EC7E}" srcOrd="0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567228D6-25E8-473E-B47C-8595C74EBC80}" type="presOf" srcId="{2AE408E0-1AF5-4F80-BFA2-F6C645A283D4}" destId="{F9790B67-A8A7-47D4-8E75-D889EA350148}" srcOrd="0" destOrd="0" presId="urn:microsoft.com/office/officeart/2005/8/layout/process2"/>
    <dgm:cxn modelId="{25F696CA-B7CD-440A-BAD1-BC680B682F02}" type="presOf" srcId="{9EFE1160-C5B7-455D-AE24-A575AB41076E}" destId="{D49DFB90-1383-44F2-BB66-0887BCA7C4E5}" srcOrd="0" destOrd="0" presId="urn:microsoft.com/office/officeart/2005/8/layout/process2"/>
    <dgm:cxn modelId="{62E13692-26A4-4AC4-93B6-C3198CF0EF72}" type="presOf" srcId="{FDFF01D2-F3CC-4D2C-A015-471198A0D6C7}" destId="{98E1D376-F99A-44C4-8AC9-E145DB47BC54}" srcOrd="1" destOrd="0" presId="urn:microsoft.com/office/officeart/2005/8/layout/process2"/>
    <dgm:cxn modelId="{F516C6A7-B749-41A1-A288-26A1477F2FD1}" type="presOf" srcId="{F7237CAD-458A-4DEE-BE25-3568BFF65879}" destId="{ADF04F16-ABFC-4DEA-9719-FE2EDEC087DE}" srcOrd="1" destOrd="0" presId="urn:microsoft.com/office/officeart/2005/8/layout/process2"/>
    <dgm:cxn modelId="{DA83F254-7F88-48D8-A3F5-7679E30DD696}" type="presOf" srcId="{E5D2D304-F13F-4199-9163-2AD87DD91923}" destId="{85F2BDF6-F9F8-41DC-9874-6F84B6C7034A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669C3F5E-D7C2-4840-86FF-BD83A9B5C51F}" type="presOf" srcId="{78DC5BE3-9B5F-4CD7-B0EC-6566CDEFFE79}" destId="{D1E38222-CE22-4A67-AEEE-B8A0996FDF5D}" srcOrd="1" destOrd="0" presId="urn:microsoft.com/office/officeart/2005/8/layout/process2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CE988BFC-7674-4DF8-BBF8-FBE03D57E3DB}" type="presOf" srcId="{78DC5BE3-9B5F-4CD7-B0EC-6566CDEFFE79}" destId="{28AF62BE-D6B0-493F-B896-8629ECF24A49}" srcOrd="0" destOrd="0" presId="urn:microsoft.com/office/officeart/2005/8/layout/process2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8B0AFB29-FC62-415D-AC04-18658CEA1A91}" type="presOf" srcId="{FDFF01D2-F3CC-4D2C-A015-471198A0D6C7}" destId="{0DFF998B-AB70-42CB-B86E-F2EDC6F014F8}" srcOrd="0" destOrd="0" presId="urn:microsoft.com/office/officeart/2005/8/layout/process2"/>
    <dgm:cxn modelId="{508C1380-E545-4984-8F7C-3F44FCE25A5C}" type="presOf" srcId="{F6B57F0F-2727-4614-A7FD-35FD6FCAF6E6}" destId="{219009EE-9B51-4162-9EBA-7B83AECF4795}" srcOrd="1" destOrd="0" presId="urn:microsoft.com/office/officeart/2005/8/layout/process2"/>
    <dgm:cxn modelId="{19AA5025-5E7A-4FD8-93ED-56A404EE6E0E}" type="presOf" srcId="{2CEC1776-9DE4-48EC-8B3A-CE30A34C08A8}" destId="{44B7898F-5A22-4319-8D85-0B72C2EF45F9}" srcOrd="0" destOrd="0" presId="urn:microsoft.com/office/officeart/2005/8/layout/process2"/>
    <dgm:cxn modelId="{8B72DB2D-DA2C-4852-A588-26D6A24D1B9C}" type="presOf" srcId="{A1FA66E9-6B47-43A9-A691-995B4B7D915F}" destId="{CD5751FF-25F1-44FE-B9E8-824DB4F14981}" srcOrd="0" destOrd="0" presId="urn:microsoft.com/office/officeart/2005/8/layout/process2"/>
    <dgm:cxn modelId="{7140AA7A-2227-484C-895E-AA54E22E002D}" type="presOf" srcId="{CC0749E6-31F7-4C9D-B494-AD9D61032896}" destId="{B22BB23F-E05B-4013-81BD-85F13AFDE6D1}" srcOrd="0" destOrd="0" presId="urn:microsoft.com/office/officeart/2005/8/layout/process2"/>
    <dgm:cxn modelId="{51404DA0-B9E7-4D41-A368-CA51CD27C190}" type="presOf" srcId="{294402DA-D638-4BA1-B669-C7A658DFF56C}" destId="{2E1F2D2C-88F0-4727-80FE-ADD5804EF2B7}" srcOrd="0" destOrd="0" presId="urn:microsoft.com/office/officeart/2005/8/layout/process2"/>
    <dgm:cxn modelId="{7A52B42E-67E1-4B56-9D2C-C38CC47814BE}" type="presOf" srcId="{CC0749E6-31F7-4C9D-B494-AD9D61032896}" destId="{3C47B04F-CBBD-4ADD-A6BE-15EEB39DBB7F}" srcOrd="1" destOrd="0" presId="urn:microsoft.com/office/officeart/2005/8/layout/process2"/>
    <dgm:cxn modelId="{CAA25EDB-0DBA-4E61-87AF-51C3F87E00BA}" type="presOf" srcId="{2CEC1776-9DE4-48EC-8B3A-CE30A34C08A8}" destId="{408A314B-8D14-452B-BB30-A6CDFBC7604D}" srcOrd="1" destOrd="0" presId="urn:microsoft.com/office/officeart/2005/8/layout/process2"/>
    <dgm:cxn modelId="{D0139779-53C8-48BF-8481-6F34025E1C5A}" type="presOf" srcId="{E5A0750E-9076-4558-8E66-C53A1107536F}" destId="{EB198668-65DF-4501-B2F3-20013C293CC4}" srcOrd="1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10BCD734-8465-41C3-B955-28FE1EF2B2EC}" type="presOf" srcId="{E5A0750E-9076-4558-8E66-C53A1107536F}" destId="{A84114DE-6569-47D6-AD13-3BDCDD5C3236}" srcOrd="0" destOrd="0" presId="urn:microsoft.com/office/officeart/2005/8/layout/process2"/>
    <dgm:cxn modelId="{CF137481-2F9F-47D5-855A-72632D05DE89}" type="presOf" srcId="{65ADC171-D76B-4DA2-9796-3C9108575BCF}" destId="{4FD2053B-5A77-4D34-8C66-D50B8724D81E}" srcOrd="0" destOrd="0" presId="urn:microsoft.com/office/officeart/2005/8/layout/process2"/>
    <dgm:cxn modelId="{32E979C8-F8A2-4B42-9885-9EF2E8D10CD1}" type="presParOf" srcId="{492AF956-F719-422D-9244-7729846A0ADF}" destId="{85F2BDF6-F9F8-41DC-9874-6F84B6C7034A}" srcOrd="0" destOrd="0" presId="urn:microsoft.com/office/officeart/2005/8/layout/process2"/>
    <dgm:cxn modelId="{1436B8A9-E9F6-4A33-AF29-D5C939C1DFFA}" type="presParOf" srcId="{492AF956-F719-422D-9244-7729846A0ADF}" destId="{44B7898F-5A22-4319-8D85-0B72C2EF45F9}" srcOrd="1" destOrd="0" presId="urn:microsoft.com/office/officeart/2005/8/layout/process2"/>
    <dgm:cxn modelId="{2D635037-48EE-44FB-B413-4D936BC9CF7A}" type="presParOf" srcId="{44B7898F-5A22-4319-8D85-0B72C2EF45F9}" destId="{408A314B-8D14-452B-BB30-A6CDFBC7604D}" srcOrd="0" destOrd="0" presId="urn:microsoft.com/office/officeart/2005/8/layout/process2"/>
    <dgm:cxn modelId="{DCB6AFC3-36FA-4D29-8E1B-7B0E8842C82C}" type="presParOf" srcId="{492AF956-F719-422D-9244-7729846A0ADF}" destId="{3D35B79B-418E-472B-B684-1ACC0A6CC011}" srcOrd="2" destOrd="0" presId="urn:microsoft.com/office/officeart/2005/8/layout/process2"/>
    <dgm:cxn modelId="{0085D1B9-AA02-4C49-B750-C2176C9F05A4}" type="presParOf" srcId="{492AF956-F719-422D-9244-7729846A0ADF}" destId="{6C27A5CC-5F13-4059-9AE7-C0A63DD7EC7E}" srcOrd="3" destOrd="0" presId="urn:microsoft.com/office/officeart/2005/8/layout/process2"/>
    <dgm:cxn modelId="{3B17CAC2-41EA-4920-B47D-09B9BFFA948C}" type="presParOf" srcId="{6C27A5CC-5F13-4059-9AE7-C0A63DD7EC7E}" destId="{219009EE-9B51-4162-9EBA-7B83AECF4795}" srcOrd="0" destOrd="0" presId="urn:microsoft.com/office/officeart/2005/8/layout/process2"/>
    <dgm:cxn modelId="{C95CC11F-CB24-4960-BA9C-22C90C37658A}" type="presParOf" srcId="{492AF956-F719-422D-9244-7729846A0ADF}" destId="{4FD2053B-5A77-4D34-8C66-D50B8724D81E}" srcOrd="4" destOrd="0" presId="urn:microsoft.com/office/officeart/2005/8/layout/process2"/>
    <dgm:cxn modelId="{6D192162-376C-4F56-B698-5E93C2A7C429}" type="presParOf" srcId="{492AF956-F719-422D-9244-7729846A0ADF}" destId="{F9790B67-A8A7-47D4-8E75-D889EA350148}" srcOrd="5" destOrd="0" presId="urn:microsoft.com/office/officeart/2005/8/layout/process2"/>
    <dgm:cxn modelId="{563579E1-D182-4C9D-9C9A-F64B9397DD23}" type="presParOf" srcId="{F9790B67-A8A7-47D4-8E75-D889EA350148}" destId="{5351E9FE-A558-447E-A302-DBACA0DF592D}" srcOrd="0" destOrd="0" presId="urn:microsoft.com/office/officeart/2005/8/layout/process2"/>
    <dgm:cxn modelId="{685BBE14-D640-4F28-8D7A-0AC8AAED586F}" type="presParOf" srcId="{492AF956-F719-422D-9244-7729846A0ADF}" destId="{7EF63230-6818-417B-9423-2B2909FB868A}" srcOrd="6" destOrd="0" presId="urn:microsoft.com/office/officeart/2005/8/layout/process2"/>
    <dgm:cxn modelId="{9FC27520-CB59-4D57-B1E4-88FE99BB8968}" type="presParOf" srcId="{492AF956-F719-422D-9244-7729846A0ADF}" destId="{6C1BCA69-22CF-4F05-B914-357F6B8C02D5}" srcOrd="7" destOrd="0" presId="urn:microsoft.com/office/officeart/2005/8/layout/process2"/>
    <dgm:cxn modelId="{2A7A5E91-4F52-454A-A3E2-F980EC45C8AA}" type="presParOf" srcId="{6C1BCA69-22CF-4F05-B914-357F6B8C02D5}" destId="{ADF04F16-ABFC-4DEA-9719-FE2EDEC087DE}" srcOrd="0" destOrd="0" presId="urn:microsoft.com/office/officeart/2005/8/layout/process2"/>
    <dgm:cxn modelId="{E0BDB6A2-C1BF-4278-8768-E60EDC3FA026}" type="presParOf" srcId="{492AF956-F719-422D-9244-7729846A0ADF}" destId="{564A9C2A-4DC0-4B71-8BDC-7615D299EDCD}" srcOrd="8" destOrd="0" presId="urn:microsoft.com/office/officeart/2005/8/layout/process2"/>
    <dgm:cxn modelId="{551C42FD-1F6C-4798-A325-7BFCA5053F77}" type="presParOf" srcId="{492AF956-F719-422D-9244-7729846A0ADF}" destId="{0DFF998B-AB70-42CB-B86E-F2EDC6F014F8}" srcOrd="9" destOrd="0" presId="urn:microsoft.com/office/officeart/2005/8/layout/process2"/>
    <dgm:cxn modelId="{A23E5D8F-E3C6-4D1B-840A-0E9188364071}" type="presParOf" srcId="{0DFF998B-AB70-42CB-B86E-F2EDC6F014F8}" destId="{98E1D376-F99A-44C4-8AC9-E145DB47BC54}" srcOrd="0" destOrd="0" presId="urn:microsoft.com/office/officeart/2005/8/layout/process2"/>
    <dgm:cxn modelId="{6E5B34C9-0E4C-4B57-8CFA-04CF69E066DD}" type="presParOf" srcId="{492AF956-F719-422D-9244-7729846A0ADF}" destId="{D49DFB90-1383-44F2-BB66-0887BCA7C4E5}" srcOrd="10" destOrd="0" presId="urn:microsoft.com/office/officeart/2005/8/layout/process2"/>
    <dgm:cxn modelId="{8101DCF5-4974-4770-B9D9-BDAEDA95EF33}" type="presParOf" srcId="{492AF956-F719-422D-9244-7729846A0ADF}" destId="{B22BB23F-E05B-4013-81BD-85F13AFDE6D1}" srcOrd="11" destOrd="0" presId="urn:microsoft.com/office/officeart/2005/8/layout/process2"/>
    <dgm:cxn modelId="{B8BB157E-629A-4D3E-8A91-6D503A455CCB}" type="presParOf" srcId="{B22BB23F-E05B-4013-81BD-85F13AFDE6D1}" destId="{3C47B04F-CBBD-4ADD-A6BE-15EEB39DBB7F}" srcOrd="0" destOrd="0" presId="urn:microsoft.com/office/officeart/2005/8/layout/process2"/>
    <dgm:cxn modelId="{5F880786-E2E6-437C-A680-AA3620AD5873}" type="presParOf" srcId="{492AF956-F719-422D-9244-7729846A0ADF}" destId="{CD5751FF-25F1-44FE-B9E8-824DB4F14981}" srcOrd="12" destOrd="0" presId="urn:microsoft.com/office/officeart/2005/8/layout/process2"/>
    <dgm:cxn modelId="{20574F99-8CF7-4690-9F85-F1C564B41251}" type="presParOf" srcId="{492AF956-F719-422D-9244-7729846A0ADF}" destId="{28AF62BE-D6B0-493F-B896-8629ECF24A49}" srcOrd="13" destOrd="0" presId="urn:microsoft.com/office/officeart/2005/8/layout/process2"/>
    <dgm:cxn modelId="{F7F13A1E-D19C-4235-9A01-6A0BEF3EF3FE}" type="presParOf" srcId="{28AF62BE-D6B0-493F-B896-8629ECF24A49}" destId="{D1E38222-CE22-4A67-AEEE-B8A0996FDF5D}" srcOrd="0" destOrd="0" presId="urn:microsoft.com/office/officeart/2005/8/layout/process2"/>
    <dgm:cxn modelId="{E8FC1F04-532A-4F8B-8B77-F3C14D5AEEF5}" type="presParOf" srcId="{492AF956-F719-422D-9244-7729846A0ADF}" destId="{76E90E60-5B19-4029-8BE8-12C0FAC09B4F}" srcOrd="14" destOrd="0" presId="urn:microsoft.com/office/officeart/2005/8/layout/process2"/>
    <dgm:cxn modelId="{66C394E2-B3B5-459E-AB97-4047DBD080E3}" type="presParOf" srcId="{492AF956-F719-422D-9244-7729846A0ADF}" destId="{A84114DE-6569-47D6-AD13-3BDCDD5C3236}" srcOrd="15" destOrd="0" presId="urn:microsoft.com/office/officeart/2005/8/layout/process2"/>
    <dgm:cxn modelId="{6188BB67-7EF3-446B-9E00-81CA00D7B1D2}" type="presParOf" srcId="{A84114DE-6569-47D6-AD13-3BDCDD5C3236}" destId="{EB198668-65DF-4501-B2F3-20013C293CC4}" srcOrd="0" destOrd="0" presId="urn:microsoft.com/office/officeart/2005/8/layout/process2"/>
    <dgm:cxn modelId="{0D4F701C-A732-469E-BD73-808E91C9C243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7F191C4-7C7C-4811-B3D1-58B29D19FCB9}" type="presOf" srcId="{E5A0750E-9076-4558-8E66-C53A1107536F}" destId="{A84114DE-6569-47D6-AD13-3BDCDD5C3236}" srcOrd="0" destOrd="0" presId="urn:microsoft.com/office/officeart/2005/8/layout/process2"/>
    <dgm:cxn modelId="{BC3C4BAA-B313-4C15-88C5-7FE03E7AB01F}" type="presOf" srcId="{2CEC1776-9DE4-48EC-8B3A-CE30A34C08A8}" destId="{44B7898F-5A22-4319-8D85-0B72C2EF45F9}" srcOrd="0" destOrd="0" presId="urn:microsoft.com/office/officeart/2005/8/layout/process2"/>
    <dgm:cxn modelId="{F02156AE-66F1-4689-A9A3-3F2F0CA417FF}" type="presOf" srcId="{FDFF01D2-F3CC-4D2C-A015-471198A0D6C7}" destId="{0DFF998B-AB70-42CB-B86E-F2EDC6F014F8}" srcOrd="0" destOrd="0" presId="urn:microsoft.com/office/officeart/2005/8/layout/process2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BBF53DFC-6ECF-4F79-824A-D2C175C7C3B7}" type="presOf" srcId="{CC0749E6-31F7-4C9D-B494-AD9D61032896}" destId="{B22BB23F-E05B-4013-81BD-85F13AFDE6D1}" srcOrd="0" destOrd="0" presId="urn:microsoft.com/office/officeart/2005/8/layout/process2"/>
    <dgm:cxn modelId="{F139B379-24F1-4E51-9109-F22E41FEDC95}" type="presOf" srcId="{CC0749E6-31F7-4C9D-B494-AD9D61032896}" destId="{3C47B04F-CBBD-4ADD-A6BE-15EEB39DBB7F}" srcOrd="1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0E693C7E-A9C0-474B-BA34-D35EF30466D3}" type="presOf" srcId="{9C241770-5D57-447B-B2C6-700BC348595B}" destId="{7EF63230-6818-417B-9423-2B2909FB868A}" srcOrd="0" destOrd="0" presId="urn:microsoft.com/office/officeart/2005/8/layout/process2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BD955306-4862-4A8A-8227-EC1FF7C77573}" type="presOf" srcId="{E5A0750E-9076-4558-8E66-C53A1107536F}" destId="{EB198668-65DF-4501-B2F3-20013C293CC4}" srcOrd="1" destOrd="0" presId="urn:microsoft.com/office/officeart/2005/8/layout/process2"/>
    <dgm:cxn modelId="{256F61BF-741B-4761-85C5-AE7DEA81ADB9}" type="presOf" srcId="{EAE0BE0B-47C3-4CD6-817F-ECFB5232CEF3}" destId="{492AF956-F719-422D-9244-7729846A0ADF}" srcOrd="0" destOrd="0" presId="urn:microsoft.com/office/officeart/2005/8/layout/process2"/>
    <dgm:cxn modelId="{35E518CD-21EC-4E89-956F-B73EAF7A395E}" type="presOf" srcId="{F6B57F0F-2727-4614-A7FD-35FD6FCAF6E6}" destId="{6C27A5CC-5F13-4059-9AE7-C0A63DD7EC7E}" srcOrd="0" destOrd="0" presId="urn:microsoft.com/office/officeart/2005/8/layout/process2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3BA895BD-ACCA-4BEF-BC23-046F7103D7D2}" type="presOf" srcId="{2AE408E0-1AF5-4F80-BFA2-F6C645A283D4}" destId="{F9790B67-A8A7-47D4-8E75-D889EA350148}" srcOrd="0" destOrd="0" presId="urn:microsoft.com/office/officeart/2005/8/layout/process2"/>
    <dgm:cxn modelId="{4C758AAA-3FB6-4A78-9C17-0FBDA6A8BFA7}" type="presOf" srcId="{F7237CAD-458A-4DEE-BE25-3568BFF65879}" destId="{6C1BCA69-22CF-4F05-B914-357F6B8C02D5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38410A52-8824-40A6-8967-59F1C2D80D6F}" type="presOf" srcId="{FDFF01D2-F3CC-4D2C-A015-471198A0D6C7}" destId="{98E1D376-F99A-44C4-8AC9-E145DB47BC54}" srcOrd="1" destOrd="0" presId="urn:microsoft.com/office/officeart/2005/8/layout/process2"/>
    <dgm:cxn modelId="{E8F43DEF-A25A-4ED5-B606-8512DF8279A9}" type="presOf" srcId="{E5D2D304-F13F-4199-9163-2AD87DD91923}" destId="{85F2BDF6-F9F8-41DC-9874-6F84B6C7034A}" srcOrd="0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FBBF16A3-5602-4C2B-8E25-93330B510BE0}" type="presOf" srcId="{65ADC171-D76B-4DA2-9796-3C9108575BCF}" destId="{4FD2053B-5A77-4D34-8C66-D50B8724D81E}" srcOrd="0" destOrd="0" presId="urn:microsoft.com/office/officeart/2005/8/layout/process2"/>
    <dgm:cxn modelId="{67D54EE1-CADE-4579-87B7-5AF831BA9727}" type="presOf" srcId="{F7237CAD-458A-4DEE-BE25-3568BFF65879}" destId="{ADF04F16-ABFC-4DEA-9719-FE2EDEC087DE}" srcOrd="1" destOrd="0" presId="urn:microsoft.com/office/officeart/2005/8/layout/process2"/>
    <dgm:cxn modelId="{5D1348F0-C553-45CB-B427-E1CE6067A11E}" type="presOf" srcId="{A1FA66E9-6B47-43A9-A691-995B4B7D915F}" destId="{CD5751FF-25F1-44FE-B9E8-824DB4F14981}" srcOrd="0" destOrd="0" presId="urn:microsoft.com/office/officeart/2005/8/layout/process2"/>
    <dgm:cxn modelId="{40852747-A326-4E22-8DDE-24F77B85BF76}" type="presOf" srcId="{F6B57F0F-2727-4614-A7FD-35FD6FCAF6E6}" destId="{219009EE-9B51-4162-9EBA-7B83AECF4795}" srcOrd="1" destOrd="0" presId="urn:microsoft.com/office/officeart/2005/8/layout/process2"/>
    <dgm:cxn modelId="{B7B8E6EF-9350-4A29-B152-0376CDC299B9}" type="presOf" srcId="{2AE408E0-1AF5-4F80-BFA2-F6C645A283D4}" destId="{5351E9FE-A558-447E-A302-DBACA0DF592D}" srcOrd="1" destOrd="0" presId="urn:microsoft.com/office/officeart/2005/8/layout/process2"/>
    <dgm:cxn modelId="{D9917210-FF79-4029-B7BB-A6C3F7410662}" type="presOf" srcId="{78DC5BE3-9B5F-4CD7-B0EC-6566CDEFFE79}" destId="{D1E38222-CE22-4A67-AEEE-B8A0996FDF5D}" srcOrd="1" destOrd="0" presId="urn:microsoft.com/office/officeart/2005/8/layout/process2"/>
    <dgm:cxn modelId="{11C4E2DE-B4BA-4917-9772-8DC76E6E0193}" type="presOf" srcId="{9EFE1160-C5B7-455D-AE24-A575AB41076E}" destId="{D49DFB90-1383-44F2-BB66-0887BCA7C4E5}" srcOrd="0" destOrd="0" presId="urn:microsoft.com/office/officeart/2005/8/layout/process2"/>
    <dgm:cxn modelId="{56777C74-CB2B-4695-9C91-EE4B35B4BB53}" type="presOf" srcId="{2A49C2D7-12D0-4518-BC98-A3272820B530}" destId="{564A9C2A-4DC0-4B71-8BDC-7615D299EDCD}" srcOrd="0" destOrd="0" presId="urn:microsoft.com/office/officeart/2005/8/layout/process2"/>
    <dgm:cxn modelId="{D4845CA7-FEE2-4069-8D75-22B44DB82C26}" type="presOf" srcId="{294402DA-D638-4BA1-B669-C7A658DFF56C}" destId="{2E1F2D2C-88F0-4727-80FE-ADD5804EF2B7}" srcOrd="0" destOrd="0" presId="urn:microsoft.com/office/officeart/2005/8/layout/process2"/>
    <dgm:cxn modelId="{7C69E4AD-4104-4C38-A4BD-66CF85C38BF7}" type="presOf" srcId="{550E20B0-80A8-42F2-BFE2-A3961B05A02A}" destId="{3D35B79B-418E-472B-B684-1ACC0A6CC011}" srcOrd="0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BD990F34-CB73-4D08-8ED3-F8F4FEFD04FA}" type="presOf" srcId="{78DC5BE3-9B5F-4CD7-B0EC-6566CDEFFE79}" destId="{28AF62BE-D6B0-493F-B896-8629ECF24A49}" srcOrd="0" destOrd="0" presId="urn:microsoft.com/office/officeart/2005/8/layout/process2"/>
    <dgm:cxn modelId="{C9B7882F-3045-4145-BE58-7D2E6914B4F1}" type="presOf" srcId="{1AB6682E-C77A-48CC-818B-2A7EC3934804}" destId="{76E90E60-5B19-4029-8BE8-12C0FAC09B4F}" srcOrd="0" destOrd="0" presId="urn:microsoft.com/office/officeart/2005/8/layout/process2"/>
    <dgm:cxn modelId="{B756A851-1340-4895-98FC-0B3BD8F7BC56}" type="presOf" srcId="{2CEC1776-9DE4-48EC-8B3A-CE30A34C08A8}" destId="{408A314B-8D14-452B-BB30-A6CDFBC7604D}" srcOrd="1" destOrd="0" presId="urn:microsoft.com/office/officeart/2005/8/layout/process2"/>
    <dgm:cxn modelId="{1D0CE465-B8D9-4353-A5E7-AC334DA7AA47}" type="presParOf" srcId="{492AF956-F719-422D-9244-7729846A0ADF}" destId="{85F2BDF6-F9F8-41DC-9874-6F84B6C7034A}" srcOrd="0" destOrd="0" presId="urn:microsoft.com/office/officeart/2005/8/layout/process2"/>
    <dgm:cxn modelId="{ADF21C66-F89E-4D85-ACDA-81503DE04F5B}" type="presParOf" srcId="{492AF956-F719-422D-9244-7729846A0ADF}" destId="{44B7898F-5A22-4319-8D85-0B72C2EF45F9}" srcOrd="1" destOrd="0" presId="urn:microsoft.com/office/officeart/2005/8/layout/process2"/>
    <dgm:cxn modelId="{BD12F092-EAAD-4546-8F55-C423A34E2FC4}" type="presParOf" srcId="{44B7898F-5A22-4319-8D85-0B72C2EF45F9}" destId="{408A314B-8D14-452B-BB30-A6CDFBC7604D}" srcOrd="0" destOrd="0" presId="urn:microsoft.com/office/officeart/2005/8/layout/process2"/>
    <dgm:cxn modelId="{901FE88B-CDD1-4E7C-8E8D-2D41F4EE50BA}" type="presParOf" srcId="{492AF956-F719-422D-9244-7729846A0ADF}" destId="{3D35B79B-418E-472B-B684-1ACC0A6CC011}" srcOrd="2" destOrd="0" presId="urn:microsoft.com/office/officeart/2005/8/layout/process2"/>
    <dgm:cxn modelId="{7B2D472E-360C-45BC-BE71-8CD5886F5D78}" type="presParOf" srcId="{492AF956-F719-422D-9244-7729846A0ADF}" destId="{6C27A5CC-5F13-4059-9AE7-C0A63DD7EC7E}" srcOrd="3" destOrd="0" presId="urn:microsoft.com/office/officeart/2005/8/layout/process2"/>
    <dgm:cxn modelId="{DDBBE9FE-74F2-4EC4-8C8B-2A05D9A41BB9}" type="presParOf" srcId="{6C27A5CC-5F13-4059-9AE7-C0A63DD7EC7E}" destId="{219009EE-9B51-4162-9EBA-7B83AECF4795}" srcOrd="0" destOrd="0" presId="urn:microsoft.com/office/officeart/2005/8/layout/process2"/>
    <dgm:cxn modelId="{A89D6877-156A-4BAE-BCFD-0A25C5D427C1}" type="presParOf" srcId="{492AF956-F719-422D-9244-7729846A0ADF}" destId="{4FD2053B-5A77-4D34-8C66-D50B8724D81E}" srcOrd="4" destOrd="0" presId="urn:microsoft.com/office/officeart/2005/8/layout/process2"/>
    <dgm:cxn modelId="{316C1D9F-C74D-47F7-807B-283E6FF23430}" type="presParOf" srcId="{492AF956-F719-422D-9244-7729846A0ADF}" destId="{F9790B67-A8A7-47D4-8E75-D889EA350148}" srcOrd="5" destOrd="0" presId="urn:microsoft.com/office/officeart/2005/8/layout/process2"/>
    <dgm:cxn modelId="{920328A6-0E41-47CD-8400-FF3CD49A6905}" type="presParOf" srcId="{F9790B67-A8A7-47D4-8E75-D889EA350148}" destId="{5351E9FE-A558-447E-A302-DBACA0DF592D}" srcOrd="0" destOrd="0" presId="urn:microsoft.com/office/officeart/2005/8/layout/process2"/>
    <dgm:cxn modelId="{6F32F2D7-BA02-4F80-9FE6-B3E05B574E29}" type="presParOf" srcId="{492AF956-F719-422D-9244-7729846A0ADF}" destId="{7EF63230-6818-417B-9423-2B2909FB868A}" srcOrd="6" destOrd="0" presId="urn:microsoft.com/office/officeart/2005/8/layout/process2"/>
    <dgm:cxn modelId="{C91EEA1D-4688-49D8-877E-940D0085467E}" type="presParOf" srcId="{492AF956-F719-422D-9244-7729846A0ADF}" destId="{6C1BCA69-22CF-4F05-B914-357F6B8C02D5}" srcOrd="7" destOrd="0" presId="urn:microsoft.com/office/officeart/2005/8/layout/process2"/>
    <dgm:cxn modelId="{3521269E-B6A8-4625-A998-7DBE5179A262}" type="presParOf" srcId="{6C1BCA69-22CF-4F05-B914-357F6B8C02D5}" destId="{ADF04F16-ABFC-4DEA-9719-FE2EDEC087DE}" srcOrd="0" destOrd="0" presId="urn:microsoft.com/office/officeart/2005/8/layout/process2"/>
    <dgm:cxn modelId="{158EDA64-1F83-448E-896E-50F55D352C2E}" type="presParOf" srcId="{492AF956-F719-422D-9244-7729846A0ADF}" destId="{564A9C2A-4DC0-4B71-8BDC-7615D299EDCD}" srcOrd="8" destOrd="0" presId="urn:microsoft.com/office/officeart/2005/8/layout/process2"/>
    <dgm:cxn modelId="{19FFF4B6-9083-4D89-A70B-CB0751D4AE98}" type="presParOf" srcId="{492AF956-F719-422D-9244-7729846A0ADF}" destId="{0DFF998B-AB70-42CB-B86E-F2EDC6F014F8}" srcOrd="9" destOrd="0" presId="urn:microsoft.com/office/officeart/2005/8/layout/process2"/>
    <dgm:cxn modelId="{865590B8-7EB6-47C4-8B70-ECABE3C701F7}" type="presParOf" srcId="{0DFF998B-AB70-42CB-B86E-F2EDC6F014F8}" destId="{98E1D376-F99A-44C4-8AC9-E145DB47BC54}" srcOrd="0" destOrd="0" presId="urn:microsoft.com/office/officeart/2005/8/layout/process2"/>
    <dgm:cxn modelId="{740A0463-7C79-4CBB-9185-5327723BC514}" type="presParOf" srcId="{492AF956-F719-422D-9244-7729846A0ADF}" destId="{D49DFB90-1383-44F2-BB66-0887BCA7C4E5}" srcOrd="10" destOrd="0" presId="urn:microsoft.com/office/officeart/2005/8/layout/process2"/>
    <dgm:cxn modelId="{3ACE08D2-CD8D-469E-879E-3E7EAD39D6AA}" type="presParOf" srcId="{492AF956-F719-422D-9244-7729846A0ADF}" destId="{B22BB23F-E05B-4013-81BD-85F13AFDE6D1}" srcOrd="11" destOrd="0" presId="urn:microsoft.com/office/officeart/2005/8/layout/process2"/>
    <dgm:cxn modelId="{F2019F91-E4CD-42C2-89BD-9F9D0D1BA374}" type="presParOf" srcId="{B22BB23F-E05B-4013-81BD-85F13AFDE6D1}" destId="{3C47B04F-CBBD-4ADD-A6BE-15EEB39DBB7F}" srcOrd="0" destOrd="0" presId="urn:microsoft.com/office/officeart/2005/8/layout/process2"/>
    <dgm:cxn modelId="{6EF88F74-6568-4D1B-B6AA-575722E52D1A}" type="presParOf" srcId="{492AF956-F719-422D-9244-7729846A0ADF}" destId="{CD5751FF-25F1-44FE-B9E8-824DB4F14981}" srcOrd="12" destOrd="0" presId="urn:microsoft.com/office/officeart/2005/8/layout/process2"/>
    <dgm:cxn modelId="{AB89245E-4797-4820-98D6-2F08272A05ED}" type="presParOf" srcId="{492AF956-F719-422D-9244-7729846A0ADF}" destId="{28AF62BE-D6B0-493F-B896-8629ECF24A49}" srcOrd="13" destOrd="0" presId="urn:microsoft.com/office/officeart/2005/8/layout/process2"/>
    <dgm:cxn modelId="{FE70E94D-6619-4C34-9965-1C176737CEF3}" type="presParOf" srcId="{28AF62BE-D6B0-493F-B896-8629ECF24A49}" destId="{D1E38222-CE22-4A67-AEEE-B8A0996FDF5D}" srcOrd="0" destOrd="0" presId="urn:microsoft.com/office/officeart/2005/8/layout/process2"/>
    <dgm:cxn modelId="{5019BA04-2E29-43B5-895F-59CC6F78F002}" type="presParOf" srcId="{492AF956-F719-422D-9244-7729846A0ADF}" destId="{76E90E60-5B19-4029-8BE8-12C0FAC09B4F}" srcOrd="14" destOrd="0" presId="urn:microsoft.com/office/officeart/2005/8/layout/process2"/>
    <dgm:cxn modelId="{97283D67-81D7-489D-8520-A8A04B2AAFC8}" type="presParOf" srcId="{492AF956-F719-422D-9244-7729846A0ADF}" destId="{A84114DE-6569-47D6-AD13-3BDCDD5C3236}" srcOrd="15" destOrd="0" presId="urn:microsoft.com/office/officeart/2005/8/layout/process2"/>
    <dgm:cxn modelId="{DDA7C7D9-83D9-4C75-8B37-9833CE1D1BF0}" type="presParOf" srcId="{A84114DE-6569-47D6-AD13-3BDCDD5C3236}" destId="{EB198668-65DF-4501-B2F3-20013C293CC4}" srcOrd="0" destOrd="0" presId="urn:microsoft.com/office/officeart/2005/8/layout/process2"/>
    <dgm:cxn modelId="{446FF6DD-BE25-40BD-98E4-6FE4C63D881B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B85EBA8-EB76-4BEE-B98D-80BDA5A53619}" type="doc">
      <dgm:prSet loTypeId="urn:microsoft.com/office/officeart/2005/8/layout/radial4" loCatId="relationship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fr-FR"/>
        </a:p>
      </dgm:t>
    </dgm:pt>
    <dgm:pt modelId="{571A7F9B-A6B7-416B-93E9-064C54C7A02F}">
      <dgm:prSet phldrT="[Texte]"/>
      <dgm:spPr/>
      <dgm:t>
        <a:bodyPr/>
        <a:lstStyle/>
        <a:p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Maturité</a:t>
          </a:r>
        </a:p>
        <a:p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Efficacité</a:t>
          </a:r>
        </a:p>
        <a:p>
          <a:r>
            <a:rPr lang="fr-FR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Intelligence collective</a:t>
          </a:r>
          <a:endParaRPr lang="fr-FR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gm:t>
    </dgm:pt>
    <dgm:pt modelId="{6FD0382A-790B-4239-A855-6A1165E759B9}" type="parTrans" cxnId="{8041340D-109B-4981-8A9E-FB130ABB54B3}">
      <dgm:prSet/>
      <dgm:spPr/>
      <dgm:t>
        <a:bodyPr/>
        <a:lstStyle/>
        <a:p>
          <a:endParaRPr lang="fr-FR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AB70DF64-BBFB-4417-975A-B0E9EE05072A}" type="sibTrans" cxnId="{8041340D-109B-4981-8A9E-FB130ABB54B3}">
      <dgm:prSet/>
      <dgm:spPr/>
      <dgm:t>
        <a:bodyPr/>
        <a:lstStyle/>
        <a:p>
          <a:endParaRPr lang="fr-FR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A92C76BE-ED72-49AB-BB45-32FEF22CBB8D}">
      <dgm:prSet phldrT="[Texte]" custT="1"/>
      <dgm:spPr/>
      <dgm:t>
        <a:bodyPr/>
        <a:lstStyle/>
        <a:p>
          <a:r>
            <a:rPr lang="fr-FR" sz="16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Interactions entre les individus</a:t>
          </a:r>
          <a:endParaRPr lang="fr-FR" sz="16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gm:t>
    </dgm:pt>
    <dgm:pt modelId="{F5025AE7-9C35-47A8-877D-041A32F9209E}" type="parTrans" cxnId="{52D012C9-70C1-40CF-90E5-DFD821FCB829}">
      <dgm:prSet/>
      <dgm:spPr/>
      <dgm:t>
        <a:bodyPr/>
        <a:lstStyle/>
        <a:p>
          <a:endParaRPr lang="fr-FR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CCD5DCA9-F176-47E7-93AE-4477940B0B31}" type="sibTrans" cxnId="{52D012C9-70C1-40CF-90E5-DFD821FCB829}">
      <dgm:prSet/>
      <dgm:spPr/>
      <dgm:t>
        <a:bodyPr/>
        <a:lstStyle/>
        <a:p>
          <a:endParaRPr lang="fr-FR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DE4A37B8-6BC6-4C4C-80F6-3DDA0258E906}">
      <dgm:prSet phldrT="[Texte]" custT="1"/>
      <dgm:spPr/>
      <dgm:t>
        <a:bodyPr/>
        <a:lstStyle/>
        <a:p>
          <a:r>
            <a:rPr lang="fr-FR" sz="16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Equipe d’appartenance</a:t>
          </a:r>
          <a:endParaRPr lang="fr-FR" sz="16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gm:t>
    </dgm:pt>
    <dgm:pt modelId="{4192B172-CC0E-404E-80DB-1C91735125F5}" type="parTrans" cxnId="{8B5072AC-5D52-4866-A994-493341183C95}">
      <dgm:prSet/>
      <dgm:spPr/>
      <dgm:t>
        <a:bodyPr/>
        <a:lstStyle/>
        <a:p>
          <a:endParaRPr lang="fr-FR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3804CF60-510B-40EA-92F5-1508E42C836A}" type="sibTrans" cxnId="{8B5072AC-5D52-4866-A994-493341183C95}">
      <dgm:prSet/>
      <dgm:spPr/>
      <dgm:t>
        <a:bodyPr/>
        <a:lstStyle/>
        <a:p>
          <a:endParaRPr lang="fr-FR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ED4205F1-D2C9-4915-8FF6-E5E8E0DA578B}">
      <dgm:prSet phldrT="[Texte]" custT="1"/>
      <dgm:spPr/>
      <dgm:t>
        <a:bodyPr/>
        <a:lstStyle/>
        <a:p>
          <a:r>
            <a:rPr lang="fr-FR" sz="16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Environnement</a:t>
          </a:r>
          <a:endParaRPr lang="fr-FR" sz="16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gm:t>
    </dgm:pt>
    <dgm:pt modelId="{0ACA1F2A-059B-47C4-A082-BBEC1EC16830}" type="parTrans" cxnId="{C10A1BA4-9985-4060-AC99-263BF1224609}">
      <dgm:prSet/>
      <dgm:spPr/>
      <dgm:t>
        <a:bodyPr/>
        <a:lstStyle/>
        <a:p>
          <a:endParaRPr lang="fr-FR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D55C10C5-4194-44C0-84FD-14C992F645C5}" type="sibTrans" cxnId="{C10A1BA4-9985-4060-AC99-263BF1224609}">
      <dgm:prSet/>
      <dgm:spPr/>
      <dgm:t>
        <a:bodyPr/>
        <a:lstStyle/>
        <a:p>
          <a:endParaRPr lang="fr-FR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gm:t>
    </dgm:pt>
    <dgm:pt modelId="{126E610C-CCF1-45D3-8BF8-74096E734E24}" type="pres">
      <dgm:prSet presAssocID="{DB85EBA8-EB76-4BEE-B98D-80BDA5A53619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6AA9A55B-FDA3-483D-A7D8-0C1DCFA9D1C5}" type="pres">
      <dgm:prSet presAssocID="{571A7F9B-A6B7-416B-93E9-064C54C7A02F}" presName="centerShape" presStyleLbl="node0" presStyleIdx="0" presStyleCnt="1"/>
      <dgm:spPr/>
      <dgm:t>
        <a:bodyPr/>
        <a:lstStyle/>
        <a:p>
          <a:endParaRPr lang="fr-FR"/>
        </a:p>
      </dgm:t>
    </dgm:pt>
    <dgm:pt modelId="{B75AE6FE-6327-4892-852C-6281EF932031}" type="pres">
      <dgm:prSet presAssocID="{F5025AE7-9C35-47A8-877D-041A32F9209E}" presName="parTrans" presStyleLbl="bgSibTrans2D1" presStyleIdx="0" presStyleCnt="3"/>
      <dgm:spPr/>
      <dgm:t>
        <a:bodyPr/>
        <a:lstStyle/>
        <a:p>
          <a:endParaRPr lang="fr-FR"/>
        </a:p>
      </dgm:t>
    </dgm:pt>
    <dgm:pt modelId="{1C71865B-CC59-4C04-9C6F-69B20A4A7D71}" type="pres">
      <dgm:prSet presAssocID="{A92C76BE-ED72-49AB-BB45-32FEF22CBB8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01F7906-E557-43AD-931B-C576CF78821A}" type="pres">
      <dgm:prSet presAssocID="{4192B172-CC0E-404E-80DB-1C91735125F5}" presName="parTrans" presStyleLbl="bgSibTrans2D1" presStyleIdx="1" presStyleCnt="3" custLinFactNeighborX="1174" custLinFactNeighborY="18087"/>
      <dgm:spPr/>
      <dgm:t>
        <a:bodyPr/>
        <a:lstStyle/>
        <a:p>
          <a:endParaRPr lang="fr-FR"/>
        </a:p>
      </dgm:t>
    </dgm:pt>
    <dgm:pt modelId="{22023DFE-A48C-44DF-B8F9-5BC2527ADA4A}" type="pres">
      <dgm:prSet presAssocID="{DE4A37B8-6BC6-4C4C-80F6-3DDA0258E906}" presName="node" presStyleLbl="node1" presStyleIdx="1" presStyleCnt="3" custRadScaleRad="115198" custRadScaleInc="194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774B128-DE0E-4104-93B0-D42DC7BFDC2C}" type="pres">
      <dgm:prSet presAssocID="{0ACA1F2A-059B-47C4-A082-BBEC1EC16830}" presName="parTrans" presStyleLbl="bgSibTrans2D1" presStyleIdx="2" presStyleCnt="3"/>
      <dgm:spPr/>
      <dgm:t>
        <a:bodyPr/>
        <a:lstStyle/>
        <a:p>
          <a:endParaRPr lang="fr-FR"/>
        </a:p>
      </dgm:t>
    </dgm:pt>
    <dgm:pt modelId="{4689C660-C666-410D-97B4-0BAA74419C97}" type="pres">
      <dgm:prSet presAssocID="{ED4205F1-D2C9-4915-8FF6-E5E8E0DA578B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041340D-109B-4981-8A9E-FB130ABB54B3}" srcId="{DB85EBA8-EB76-4BEE-B98D-80BDA5A53619}" destId="{571A7F9B-A6B7-416B-93E9-064C54C7A02F}" srcOrd="0" destOrd="0" parTransId="{6FD0382A-790B-4239-A855-6A1165E759B9}" sibTransId="{AB70DF64-BBFB-4417-975A-B0E9EE05072A}"/>
    <dgm:cxn modelId="{27DE86DA-82EC-488E-942A-92B6E8385B0A}" type="presOf" srcId="{0ACA1F2A-059B-47C4-A082-BBEC1EC16830}" destId="{2774B128-DE0E-4104-93B0-D42DC7BFDC2C}" srcOrd="0" destOrd="0" presId="urn:microsoft.com/office/officeart/2005/8/layout/radial4"/>
    <dgm:cxn modelId="{62DBF8F2-2E10-4C84-ABB1-41E017B6B843}" type="presOf" srcId="{571A7F9B-A6B7-416B-93E9-064C54C7A02F}" destId="{6AA9A55B-FDA3-483D-A7D8-0C1DCFA9D1C5}" srcOrd="0" destOrd="0" presId="urn:microsoft.com/office/officeart/2005/8/layout/radial4"/>
    <dgm:cxn modelId="{8B5072AC-5D52-4866-A994-493341183C95}" srcId="{571A7F9B-A6B7-416B-93E9-064C54C7A02F}" destId="{DE4A37B8-6BC6-4C4C-80F6-3DDA0258E906}" srcOrd="1" destOrd="0" parTransId="{4192B172-CC0E-404E-80DB-1C91735125F5}" sibTransId="{3804CF60-510B-40EA-92F5-1508E42C836A}"/>
    <dgm:cxn modelId="{3D72FD4F-A9B7-4A67-948A-876BE87ABB8B}" type="presOf" srcId="{A92C76BE-ED72-49AB-BB45-32FEF22CBB8D}" destId="{1C71865B-CC59-4C04-9C6F-69B20A4A7D71}" srcOrd="0" destOrd="0" presId="urn:microsoft.com/office/officeart/2005/8/layout/radial4"/>
    <dgm:cxn modelId="{A6F32EA4-230F-4664-AB50-FEF8DF4E18AC}" type="presOf" srcId="{ED4205F1-D2C9-4915-8FF6-E5E8E0DA578B}" destId="{4689C660-C666-410D-97B4-0BAA74419C97}" srcOrd="0" destOrd="0" presId="urn:microsoft.com/office/officeart/2005/8/layout/radial4"/>
    <dgm:cxn modelId="{53358258-3F1D-484A-B491-AACBB59F55F7}" type="presOf" srcId="{DE4A37B8-6BC6-4C4C-80F6-3DDA0258E906}" destId="{22023DFE-A48C-44DF-B8F9-5BC2527ADA4A}" srcOrd="0" destOrd="0" presId="urn:microsoft.com/office/officeart/2005/8/layout/radial4"/>
    <dgm:cxn modelId="{1EA6365D-02D8-47E7-B707-A0720F523016}" type="presOf" srcId="{F5025AE7-9C35-47A8-877D-041A32F9209E}" destId="{B75AE6FE-6327-4892-852C-6281EF932031}" srcOrd="0" destOrd="0" presId="urn:microsoft.com/office/officeart/2005/8/layout/radial4"/>
    <dgm:cxn modelId="{5930388C-1383-40CB-A557-555C06BFE252}" type="presOf" srcId="{DB85EBA8-EB76-4BEE-B98D-80BDA5A53619}" destId="{126E610C-CCF1-45D3-8BF8-74096E734E24}" srcOrd="0" destOrd="0" presId="urn:microsoft.com/office/officeart/2005/8/layout/radial4"/>
    <dgm:cxn modelId="{C10A1BA4-9985-4060-AC99-263BF1224609}" srcId="{571A7F9B-A6B7-416B-93E9-064C54C7A02F}" destId="{ED4205F1-D2C9-4915-8FF6-E5E8E0DA578B}" srcOrd="2" destOrd="0" parTransId="{0ACA1F2A-059B-47C4-A082-BBEC1EC16830}" sibTransId="{D55C10C5-4194-44C0-84FD-14C992F645C5}"/>
    <dgm:cxn modelId="{AE32866D-AAA3-4BB9-A566-62488D816B16}" type="presOf" srcId="{4192B172-CC0E-404E-80DB-1C91735125F5}" destId="{601F7906-E557-43AD-931B-C576CF78821A}" srcOrd="0" destOrd="0" presId="urn:microsoft.com/office/officeart/2005/8/layout/radial4"/>
    <dgm:cxn modelId="{52D012C9-70C1-40CF-90E5-DFD821FCB829}" srcId="{571A7F9B-A6B7-416B-93E9-064C54C7A02F}" destId="{A92C76BE-ED72-49AB-BB45-32FEF22CBB8D}" srcOrd="0" destOrd="0" parTransId="{F5025AE7-9C35-47A8-877D-041A32F9209E}" sibTransId="{CCD5DCA9-F176-47E7-93AE-4477940B0B31}"/>
    <dgm:cxn modelId="{5FD5B59E-4F73-4095-A14C-8916E58E13E9}" type="presParOf" srcId="{126E610C-CCF1-45D3-8BF8-74096E734E24}" destId="{6AA9A55B-FDA3-483D-A7D8-0C1DCFA9D1C5}" srcOrd="0" destOrd="0" presId="urn:microsoft.com/office/officeart/2005/8/layout/radial4"/>
    <dgm:cxn modelId="{717ACA53-872A-4DF9-8F8E-C99BE39CCC3E}" type="presParOf" srcId="{126E610C-CCF1-45D3-8BF8-74096E734E24}" destId="{B75AE6FE-6327-4892-852C-6281EF932031}" srcOrd="1" destOrd="0" presId="urn:microsoft.com/office/officeart/2005/8/layout/radial4"/>
    <dgm:cxn modelId="{D9B0FEE4-1D72-4D02-B38E-A79439F12DE1}" type="presParOf" srcId="{126E610C-CCF1-45D3-8BF8-74096E734E24}" destId="{1C71865B-CC59-4C04-9C6F-69B20A4A7D71}" srcOrd="2" destOrd="0" presId="urn:microsoft.com/office/officeart/2005/8/layout/radial4"/>
    <dgm:cxn modelId="{6272A878-5480-4C24-9EE0-5F3695BB9543}" type="presParOf" srcId="{126E610C-CCF1-45D3-8BF8-74096E734E24}" destId="{601F7906-E557-43AD-931B-C576CF78821A}" srcOrd="3" destOrd="0" presId="urn:microsoft.com/office/officeart/2005/8/layout/radial4"/>
    <dgm:cxn modelId="{B8E7A787-D1C9-4E6F-BC19-B6B305ABA9F0}" type="presParOf" srcId="{126E610C-CCF1-45D3-8BF8-74096E734E24}" destId="{22023DFE-A48C-44DF-B8F9-5BC2527ADA4A}" srcOrd="4" destOrd="0" presId="urn:microsoft.com/office/officeart/2005/8/layout/radial4"/>
    <dgm:cxn modelId="{6C429102-98CC-42D1-BBF3-E6B79A5E96AB}" type="presParOf" srcId="{126E610C-CCF1-45D3-8BF8-74096E734E24}" destId="{2774B128-DE0E-4104-93B0-D42DC7BFDC2C}" srcOrd="5" destOrd="0" presId="urn:microsoft.com/office/officeart/2005/8/layout/radial4"/>
    <dgm:cxn modelId="{582A41A5-F182-4BB2-8191-3F94F4E04008}" type="presParOf" srcId="{126E610C-CCF1-45D3-8BF8-74096E734E24}" destId="{4689C660-C666-410D-97B4-0BAA74419C97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7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7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7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7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7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7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7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7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7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7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7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7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6" presStyleCnt="7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6" presStyleCnt="7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454F4C3-2C9B-4C04-A7AE-2EC3DF2C3C12}" type="presOf" srcId="{9EFE1160-C5B7-455D-AE24-A575AB41076E}" destId="{D49DFB90-1383-44F2-BB66-0887BCA7C4E5}" srcOrd="0" destOrd="0" presId="urn:microsoft.com/office/officeart/2005/8/layout/process2"/>
    <dgm:cxn modelId="{CF7740E2-0E5E-4AD3-8783-E16B4C2CF1BB}" type="presOf" srcId="{FDFF01D2-F3CC-4D2C-A015-471198A0D6C7}" destId="{0DFF998B-AB70-42CB-B86E-F2EDC6F014F8}" srcOrd="0" destOrd="0" presId="urn:microsoft.com/office/officeart/2005/8/layout/process2"/>
    <dgm:cxn modelId="{80E6555F-148F-45B4-930F-6F763803A68C}" type="presOf" srcId="{2CEC1776-9DE4-48EC-8B3A-CE30A34C08A8}" destId="{44B7898F-5A22-4319-8D85-0B72C2EF45F9}" srcOrd="0" destOrd="0" presId="urn:microsoft.com/office/officeart/2005/8/layout/process2"/>
    <dgm:cxn modelId="{2CABC4E5-FA02-416C-9182-6536EA1EB044}" type="presOf" srcId="{EAE0BE0B-47C3-4CD6-817F-ECFB5232CEF3}" destId="{492AF956-F719-422D-9244-7729846A0ADF}" srcOrd="0" destOrd="0" presId="urn:microsoft.com/office/officeart/2005/8/layout/process2"/>
    <dgm:cxn modelId="{21726437-2FB9-412B-97FE-4671F1986936}" type="presOf" srcId="{1AB6682E-C77A-48CC-818B-2A7EC3934804}" destId="{76E90E60-5B19-4029-8BE8-12C0FAC09B4F}" srcOrd="0" destOrd="0" presId="urn:microsoft.com/office/officeart/2005/8/layout/process2"/>
    <dgm:cxn modelId="{27111232-BDA2-41C7-8C74-6DEEE5508B84}" type="presOf" srcId="{F6B57F0F-2727-4614-A7FD-35FD6FCAF6E6}" destId="{6C27A5CC-5F13-4059-9AE7-C0A63DD7EC7E}" srcOrd="0" destOrd="0" presId="urn:microsoft.com/office/officeart/2005/8/layout/process2"/>
    <dgm:cxn modelId="{6BEFFF59-7055-404D-B56A-2924F917060D}" type="presOf" srcId="{F7237CAD-458A-4DEE-BE25-3568BFF65879}" destId="{6C1BCA69-22CF-4F05-B914-357F6B8C02D5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B9CA0BCD-86EE-4973-820D-8286E7ADAFCE}" type="presOf" srcId="{294402DA-D638-4BA1-B669-C7A658DFF56C}" destId="{2E1F2D2C-88F0-4727-80FE-ADD5804EF2B7}" srcOrd="0" destOrd="0" presId="urn:microsoft.com/office/officeart/2005/8/layout/process2"/>
    <dgm:cxn modelId="{127950D3-335C-49DD-A6DA-D49D08CCF438}" srcId="{EAE0BE0B-47C3-4CD6-817F-ECFB5232CEF3}" destId="{1AB6682E-C77A-48CC-818B-2A7EC3934804}" srcOrd="6" destOrd="0" parTransId="{A6FF89CA-E2BE-4CDD-A24C-B0B1CB01987B}" sibTransId="{E5A0750E-9076-4558-8E66-C53A1107536F}"/>
    <dgm:cxn modelId="{1665B7E2-C2E6-4EA2-BCE8-DD297636CF1B}" type="presOf" srcId="{CC0749E6-31F7-4C9D-B494-AD9D61032896}" destId="{3C47B04F-CBBD-4ADD-A6BE-15EEB39DBB7F}" srcOrd="1" destOrd="0" presId="urn:microsoft.com/office/officeart/2005/8/layout/process2"/>
    <dgm:cxn modelId="{F480FBB3-D898-45ED-949F-683FD7BE50F1}" type="presOf" srcId="{E5A0750E-9076-4558-8E66-C53A1107536F}" destId="{EB198668-65DF-4501-B2F3-20013C293CC4}" srcOrd="1" destOrd="0" presId="urn:microsoft.com/office/officeart/2005/8/layout/process2"/>
    <dgm:cxn modelId="{45613F76-6A5B-4931-BF66-E5503B633ACB}" type="presOf" srcId="{E5A0750E-9076-4558-8E66-C53A1107536F}" destId="{A84114DE-6569-47D6-AD13-3BDCDD5C3236}" srcOrd="0" destOrd="0" presId="urn:microsoft.com/office/officeart/2005/8/layout/process2"/>
    <dgm:cxn modelId="{99F8FB3D-3EEC-4DFB-8EA7-F1C5D3D6CEDE}" type="presOf" srcId="{65ADC171-D76B-4DA2-9796-3C9108575BCF}" destId="{4FD2053B-5A77-4D34-8C66-D50B8724D81E}" srcOrd="0" destOrd="0" presId="urn:microsoft.com/office/officeart/2005/8/layout/process2"/>
    <dgm:cxn modelId="{6D425C83-BA4A-4819-AD9C-F887A6F4CF13}" type="presOf" srcId="{2AE408E0-1AF5-4F80-BFA2-F6C645A283D4}" destId="{5351E9FE-A558-447E-A302-DBACA0DF592D}" srcOrd="1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17D7FEC1-94E3-420A-8AAF-36DEC8A22EAA}" type="presOf" srcId="{9C241770-5D57-447B-B2C6-700BC348595B}" destId="{7EF63230-6818-417B-9423-2B2909FB868A}" srcOrd="0" destOrd="0" presId="urn:microsoft.com/office/officeart/2005/8/layout/process2"/>
    <dgm:cxn modelId="{71B48048-64DD-4727-8792-38DF03B96AD5}" srcId="{EAE0BE0B-47C3-4CD6-817F-ECFB5232CEF3}" destId="{294402DA-D638-4BA1-B669-C7A658DFF56C}" srcOrd="7" destOrd="0" parTransId="{DB1A8D50-BB30-4E3B-9FBF-E1F6793CAAA2}" sibTransId="{490C5299-FC82-4673-B7B9-417344C0DCAA}"/>
    <dgm:cxn modelId="{1169705C-AB8F-4AAE-BD07-8A353F3DA529}" type="presOf" srcId="{2A49C2D7-12D0-4518-BC98-A3272820B530}" destId="{564A9C2A-4DC0-4B71-8BDC-7615D299EDCD}" srcOrd="0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725C1B11-4798-4340-AEC8-C5CF082EE003}" type="presOf" srcId="{F7237CAD-458A-4DEE-BE25-3568BFF65879}" destId="{ADF04F16-ABFC-4DEA-9719-FE2EDEC087DE}" srcOrd="1" destOrd="0" presId="urn:microsoft.com/office/officeart/2005/8/layout/process2"/>
    <dgm:cxn modelId="{08156CC9-C385-4C49-8B82-4C00D8BBF45F}" type="presOf" srcId="{2AE408E0-1AF5-4F80-BFA2-F6C645A283D4}" destId="{F9790B67-A8A7-47D4-8E75-D889EA350148}" srcOrd="0" destOrd="0" presId="urn:microsoft.com/office/officeart/2005/8/layout/process2"/>
    <dgm:cxn modelId="{98484B91-4A0C-40C0-836F-7FECDD5C50D5}" type="presOf" srcId="{FDFF01D2-F3CC-4D2C-A015-471198A0D6C7}" destId="{98E1D376-F99A-44C4-8AC9-E145DB47BC54}" srcOrd="1" destOrd="0" presId="urn:microsoft.com/office/officeart/2005/8/layout/process2"/>
    <dgm:cxn modelId="{78A1E6B7-99E8-409A-B69F-DC1FBA69E11A}" type="presOf" srcId="{E5D2D304-F13F-4199-9163-2AD87DD91923}" destId="{85F2BDF6-F9F8-41DC-9874-6F84B6C7034A}" srcOrd="0" destOrd="0" presId="urn:microsoft.com/office/officeart/2005/8/layout/process2"/>
    <dgm:cxn modelId="{011AAB5C-9AA9-438A-8A0C-743EEBB5697A}" type="presOf" srcId="{2CEC1776-9DE4-48EC-8B3A-CE30A34C08A8}" destId="{408A314B-8D14-452B-BB30-A6CDFBC7604D}" srcOrd="1" destOrd="0" presId="urn:microsoft.com/office/officeart/2005/8/layout/process2"/>
    <dgm:cxn modelId="{918C08B9-A603-400F-B4F9-C338497D4394}" type="presOf" srcId="{CC0749E6-31F7-4C9D-B494-AD9D61032896}" destId="{B22BB23F-E05B-4013-81BD-85F13AFDE6D1}" srcOrd="0" destOrd="0" presId="urn:microsoft.com/office/officeart/2005/8/layout/process2"/>
    <dgm:cxn modelId="{CFA14C42-2E99-4ACF-90AE-C943FA570DA9}" type="presOf" srcId="{550E20B0-80A8-42F2-BFE2-A3961B05A02A}" destId="{3D35B79B-418E-472B-B684-1ACC0A6CC011}" srcOrd="0" destOrd="0" presId="urn:microsoft.com/office/officeart/2005/8/layout/process2"/>
    <dgm:cxn modelId="{AE63B0D2-2765-4C0B-9C8C-55F21735C474}" type="presOf" srcId="{F6B57F0F-2727-4614-A7FD-35FD6FCAF6E6}" destId="{219009EE-9B51-4162-9EBA-7B83AECF4795}" srcOrd="1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B50558C0-4BB9-4351-B78D-86F863362F83}" type="presParOf" srcId="{492AF956-F719-422D-9244-7729846A0ADF}" destId="{85F2BDF6-F9F8-41DC-9874-6F84B6C7034A}" srcOrd="0" destOrd="0" presId="urn:microsoft.com/office/officeart/2005/8/layout/process2"/>
    <dgm:cxn modelId="{D6FC06E3-368E-46BE-B436-5FEC2E25398B}" type="presParOf" srcId="{492AF956-F719-422D-9244-7729846A0ADF}" destId="{44B7898F-5A22-4319-8D85-0B72C2EF45F9}" srcOrd="1" destOrd="0" presId="urn:microsoft.com/office/officeart/2005/8/layout/process2"/>
    <dgm:cxn modelId="{3492EAA4-2BE9-44EA-B416-79237EC1CAD2}" type="presParOf" srcId="{44B7898F-5A22-4319-8D85-0B72C2EF45F9}" destId="{408A314B-8D14-452B-BB30-A6CDFBC7604D}" srcOrd="0" destOrd="0" presId="urn:microsoft.com/office/officeart/2005/8/layout/process2"/>
    <dgm:cxn modelId="{1FFDD945-6BFB-4768-9281-7B490AB01784}" type="presParOf" srcId="{492AF956-F719-422D-9244-7729846A0ADF}" destId="{3D35B79B-418E-472B-B684-1ACC0A6CC011}" srcOrd="2" destOrd="0" presId="urn:microsoft.com/office/officeart/2005/8/layout/process2"/>
    <dgm:cxn modelId="{B4A84439-2D35-4283-BB90-82E1EC6ACE42}" type="presParOf" srcId="{492AF956-F719-422D-9244-7729846A0ADF}" destId="{6C27A5CC-5F13-4059-9AE7-C0A63DD7EC7E}" srcOrd="3" destOrd="0" presId="urn:microsoft.com/office/officeart/2005/8/layout/process2"/>
    <dgm:cxn modelId="{6B04F494-E170-44F5-BE24-854C168C3531}" type="presParOf" srcId="{6C27A5CC-5F13-4059-9AE7-C0A63DD7EC7E}" destId="{219009EE-9B51-4162-9EBA-7B83AECF4795}" srcOrd="0" destOrd="0" presId="urn:microsoft.com/office/officeart/2005/8/layout/process2"/>
    <dgm:cxn modelId="{FCE80273-C8CC-43FA-B538-345E251E7B22}" type="presParOf" srcId="{492AF956-F719-422D-9244-7729846A0ADF}" destId="{4FD2053B-5A77-4D34-8C66-D50B8724D81E}" srcOrd="4" destOrd="0" presId="urn:microsoft.com/office/officeart/2005/8/layout/process2"/>
    <dgm:cxn modelId="{44F02527-492E-4539-89A0-DBEB253B68DD}" type="presParOf" srcId="{492AF956-F719-422D-9244-7729846A0ADF}" destId="{F9790B67-A8A7-47D4-8E75-D889EA350148}" srcOrd="5" destOrd="0" presId="urn:microsoft.com/office/officeart/2005/8/layout/process2"/>
    <dgm:cxn modelId="{A33AD364-E52F-4852-970D-FBE10DCE0C31}" type="presParOf" srcId="{F9790B67-A8A7-47D4-8E75-D889EA350148}" destId="{5351E9FE-A558-447E-A302-DBACA0DF592D}" srcOrd="0" destOrd="0" presId="urn:microsoft.com/office/officeart/2005/8/layout/process2"/>
    <dgm:cxn modelId="{1E4C7937-A3EC-4FBA-B9E1-ADDA4C95C123}" type="presParOf" srcId="{492AF956-F719-422D-9244-7729846A0ADF}" destId="{7EF63230-6818-417B-9423-2B2909FB868A}" srcOrd="6" destOrd="0" presId="urn:microsoft.com/office/officeart/2005/8/layout/process2"/>
    <dgm:cxn modelId="{954733C6-69E0-4C52-BFCB-74A277B37230}" type="presParOf" srcId="{492AF956-F719-422D-9244-7729846A0ADF}" destId="{6C1BCA69-22CF-4F05-B914-357F6B8C02D5}" srcOrd="7" destOrd="0" presId="urn:microsoft.com/office/officeart/2005/8/layout/process2"/>
    <dgm:cxn modelId="{128DE412-5C3A-46CF-ACF8-DE1040D004AE}" type="presParOf" srcId="{6C1BCA69-22CF-4F05-B914-357F6B8C02D5}" destId="{ADF04F16-ABFC-4DEA-9719-FE2EDEC087DE}" srcOrd="0" destOrd="0" presId="urn:microsoft.com/office/officeart/2005/8/layout/process2"/>
    <dgm:cxn modelId="{24549BA2-4AC6-4B32-92CF-6272E58A5A41}" type="presParOf" srcId="{492AF956-F719-422D-9244-7729846A0ADF}" destId="{564A9C2A-4DC0-4B71-8BDC-7615D299EDCD}" srcOrd="8" destOrd="0" presId="urn:microsoft.com/office/officeart/2005/8/layout/process2"/>
    <dgm:cxn modelId="{082FD2F4-918E-4AF1-A850-BE8F308D3661}" type="presParOf" srcId="{492AF956-F719-422D-9244-7729846A0ADF}" destId="{0DFF998B-AB70-42CB-B86E-F2EDC6F014F8}" srcOrd="9" destOrd="0" presId="urn:microsoft.com/office/officeart/2005/8/layout/process2"/>
    <dgm:cxn modelId="{EC007E51-C1FB-4E16-A8A2-EBD959FCBB2F}" type="presParOf" srcId="{0DFF998B-AB70-42CB-B86E-F2EDC6F014F8}" destId="{98E1D376-F99A-44C4-8AC9-E145DB47BC54}" srcOrd="0" destOrd="0" presId="urn:microsoft.com/office/officeart/2005/8/layout/process2"/>
    <dgm:cxn modelId="{0398A6F0-360C-44C7-9D09-9E0E9F3D571F}" type="presParOf" srcId="{492AF956-F719-422D-9244-7729846A0ADF}" destId="{D49DFB90-1383-44F2-BB66-0887BCA7C4E5}" srcOrd="10" destOrd="0" presId="urn:microsoft.com/office/officeart/2005/8/layout/process2"/>
    <dgm:cxn modelId="{ED4321DC-BA3F-4973-8565-F666307762E1}" type="presParOf" srcId="{492AF956-F719-422D-9244-7729846A0ADF}" destId="{B22BB23F-E05B-4013-81BD-85F13AFDE6D1}" srcOrd="11" destOrd="0" presId="urn:microsoft.com/office/officeart/2005/8/layout/process2"/>
    <dgm:cxn modelId="{B0E620C6-538C-4D97-9F9F-514B8355EA26}" type="presParOf" srcId="{B22BB23F-E05B-4013-81BD-85F13AFDE6D1}" destId="{3C47B04F-CBBD-4ADD-A6BE-15EEB39DBB7F}" srcOrd="0" destOrd="0" presId="urn:microsoft.com/office/officeart/2005/8/layout/process2"/>
    <dgm:cxn modelId="{64B44805-953F-4515-A876-D3752E6F528C}" type="presParOf" srcId="{492AF956-F719-422D-9244-7729846A0ADF}" destId="{76E90E60-5B19-4029-8BE8-12C0FAC09B4F}" srcOrd="12" destOrd="0" presId="urn:microsoft.com/office/officeart/2005/8/layout/process2"/>
    <dgm:cxn modelId="{5746B77A-236D-4A4E-B6F9-724E716F7423}" type="presParOf" srcId="{492AF956-F719-422D-9244-7729846A0ADF}" destId="{A84114DE-6569-47D6-AD13-3BDCDD5C3236}" srcOrd="13" destOrd="0" presId="urn:microsoft.com/office/officeart/2005/8/layout/process2"/>
    <dgm:cxn modelId="{FB1E8302-40CC-47A7-B1BA-D8655AD58A5D}" type="presParOf" srcId="{A84114DE-6569-47D6-AD13-3BDCDD5C3236}" destId="{EB198668-65DF-4501-B2F3-20013C293CC4}" srcOrd="0" destOrd="0" presId="urn:microsoft.com/office/officeart/2005/8/layout/process2"/>
    <dgm:cxn modelId="{B08184EB-A995-42F8-B786-9A0A731218AE}" type="presParOf" srcId="{492AF956-F719-422D-9244-7729846A0ADF}" destId="{2E1F2D2C-88F0-4727-80FE-ADD5804EF2B7}" srcOrd="1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Phase 1 : </a:t>
          </a:r>
        </a:p>
        <a:p>
          <a:r>
            <a:rPr lang="fr-FR" sz="95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Définition du coaching</a:t>
          </a:r>
          <a:endParaRPr lang="fr-FR" sz="950" dirty="0">
            <a:solidFill>
              <a:schemeClr val="bg1"/>
            </a:solidFill>
            <a:latin typeface="Gill Sans" panose="020B0604020202020204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3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: Méthodes </a:t>
          </a:r>
          <a:r>
            <a:rPr lang="fr-FR" sz="950" dirty="0" smtClean="0">
              <a:latin typeface="Gill Sans" panose="020B0604020202020204"/>
              <a:cs typeface="Arial" pitchFamily="34" charset="0"/>
            </a:rPr>
            <a:t>de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Cas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Etapes du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Savoir-être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Savoir-faire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Risques du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Quand coacher ?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550E20B0-80A8-42F2-BFE2-A3961B05A02A}">
      <dgm:prSet custT="1"/>
      <dgm:spPr/>
      <dgm:t>
        <a:bodyPr/>
        <a:lstStyle/>
        <a:p>
          <a:r>
            <a:rPr lang="fr-FR" sz="95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Gill Sans" panose="020B0604020202020204"/>
              <a:cs typeface="Arial" pitchFamily="34" charset="0"/>
            </a:rPr>
            <a:t>Types de coaching</a:t>
          </a:r>
          <a:endParaRPr lang="fr-FR" sz="950" dirty="0">
            <a:latin typeface="Gill Sans" panose="020B0604020202020204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Gill Sans" panose="020B0604020202020204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9929B42-A18D-45ED-8BDE-03EAFF926612}" type="presOf" srcId="{2A49C2D7-12D0-4518-BC98-A3272820B530}" destId="{564A9C2A-4DC0-4B71-8BDC-7615D299EDCD}" srcOrd="0" destOrd="0" presId="urn:microsoft.com/office/officeart/2005/8/layout/process2"/>
    <dgm:cxn modelId="{A6838444-682F-4B6A-9C2D-6909CA36CFBC}" type="presOf" srcId="{2AE408E0-1AF5-4F80-BFA2-F6C645A283D4}" destId="{5351E9FE-A558-447E-A302-DBACA0DF592D}" srcOrd="1" destOrd="0" presId="urn:microsoft.com/office/officeart/2005/8/layout/process2"/>
    <dgm:cxn modelId="{E3966931-088D-46A7-8759-AB668E41487E}" type="presOf" srcId="{F6B57F0F-2727-4614-A7FD-35FD6FCAF6E6}" destId="{6C27A5CC-5F13-4059-9AE7-C0A63DD7EC7E}" srcOrd="0" destOrd="0" presId="urn:microsoft.com/office/officeart/2005/8/layout/process2"/>
    <dgm:cxn modelId="{FDE4574C-085D-4BC5-83C2-7CCAFFEFE180}" type="presOf" srcId="{FDFF01D2-F3CC-4D2C-A015-471198A0D6C7}" destId="{98E1D376-F99A-44C4-8AC9-E145DB47BC54}" srcOrd="1" destOrd="0" presId="urn:microsoft.com/office/officeart/2005/8/layout/process2"/>
    <dgm:cxn modelId="{06DDC5B4-1D39-4FB2-BA4C-890D06FAE144}" type="presOf" srcId="{1AB6682E-C77A-48CC-818B-2A7EC3934804}" destId="{76E90E60-5B19-4029-8BE8-12C0FAC09B4F}" srcOrd="0" destOrd="0" presId="urn:microsoft.com/office/officeart/2005/8/layout/process2"/>
    <dgm:cxn modelId="{009CC5E3-E3DF-4197-B113-A3805C68B5E7}" type="presOf" srcId="{2AE408E0-1AF5-4F80-BFA2-F6C645A283D4}" destId="{F9790B67-A8A7-47D4-8E75-D889EA350148}" srcOrd="0" destOrd="0" presId="urn:microsoft.com/office/officeart/2005/8/layout/process2"/>
    <dgm:cxn modelId="{329D4923-8590-4AC2-9AB8-A9D3DD117778}" type="presOf" srcId="{EAE0BE0B-47C3-4CD6-817F-ECFB5232CEF3}" destId="{492AF956-F719-422D-9244-7729846A0ADF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4A9EF9EA-F03A-4823-B2FE-29FC77436143}" type="presOf" srcId="{F7237CAD-458A-4DEE-BE25-3568BFF65879}" destId="{ADF04F16-ABFC-4DEA-9719-FE2EDEC087DE}" srcOrd="1" destOrd="0" presId="urn:microsoft.com/office/officeart/2005/8/layout/process2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E34984CB-C0B5-4696-B5FA-8F48B8B662E5}" type="presOf" srcId="{CC0749E6-31F7-4C9D-B494-AD9D61032896}" destId="{3C47B04F-CBBD-4ADD-A6BE-15EEB39DBB7F}" srcOrd="1" destOrd="0" presId="urn:microsoft.com/office/officeart/2005/8/layout/process2"/>
    <dgm:cxn modelId="{3CA25B60-A08A-4A05-99CA-79062C431D45}" type="presOf" srcId="{9C241770-5D57-447B-B2C6-700BC348595B}" destId="{7EF63230-6818-417B-9423-2B2909FB868A}" srcOrd="0" destOrd="0" presId="urn:microsoft.com/office/officeart/2005/8/layout/process2"/>
    <dgm:cxn modelId="{097B3C68-1C63-4DA9-ABA7-2490517515BD}" type="presOf" srcId="{2CEC1776-9DE4-48EC-8B3A-CE30A34C08A8}" destId="{44B7898F-5A22-4319-8D85-0B72C2EF45F9}" srcOrd="0" destOrd="0" presId="urn:microsoft.com/office/officeart/2005/8/layout/process2"/>
    <dgm:cxn modelId="{C99029E9-1782-4515-94D3-6D47C824DF1D}" type="presOf" srcId="{E5A0750E-9076-4558-8E66-C53A1107536F}" destId="{A84114DE-6569-47D6-AD13-3BDCDD5C3236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0D0D50C6-B10B-4847-9E52-E74A1BED00A0}" type="presOf" srcId="{9EFE1160-C5B7-455D-AE24-A575AB41076E}" destId="{D49DFB90-1383-44F2-BB66-0887BCA7C4E5}" srcOrd="0" destOrd="0" presId="urn:microsoft.com/office/officeart/2005/8/layout/process2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9615DB64-7BF1-4270-9A27-463305A31FC5}" type="presOf" srcId="{550E20B0-80A8-42F2-BFE2-A3961B05A02A}" destId="{3D35B79B-418E-472B-B684-1ACC0A6CC011}" srcOrd="0" destOrd="0" presId="urn:microsoft.com/office/officeart/2005/8/layout/process2"/>
    <dgm:cxn modelId="{5FA446B6-0E2B-429D-A16E-ED016BE16143}" type="presOf" srcId="{E5D2D304-F13F-4199-9163-2AD87DD91923}" destId="{85F2BDF6-F9F8-41DC-9874-6F84B6C7034A}" srcOrd="0" destOrd="0" presId="urn:microsoft.com/office/officeart/2005/8/layout/process2"/>
    <dgm:cxn modelId="{BAFEA84C-B8C6-4ABF-9F78-08596AA6A3CD}" type="presOf" srcId="{CC0749E6-31F7-4C9D-B494-AD9D61032896}" destId="{B22BB23F-E05B-4013-81BD-85F13AFDE6D1}" srcOrd="0" destOrd="0" presId="urn:microsoft.com/office/officeart/2005/8/layout/process2"/>
    <dgm:cxn modelId="{89D5E7C0-B7AA-4579-A41C-A960F585B020}" type="presOf" srcId="{65ADC171-D76B-4DA2-9796-3C9108575BCF}" destId="{4FD2053B-5A77-4D34-8C66-D50B8724D81E}" srcOrd="0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5BF3E17A-2258-4CA4-A3CC-9D81A8EC9ADC}" type="presOf" srcId="{78DC5BE3-9B5F-4CD7-B0EC-6566CDEFFE79}" destId="{D1E38222-CE22-4A67-AEEE-B8A0996FDF5D}" srcOrd="1" destOrd="0" presId="urn:microsoft.com/office/officeart/2005/8/layout/process2"/>
    <dgm:cxn modelId="{63912FE0-036E-45D1-B7EE-C9E02128B0AC}" type="presOf" srcId="{F6B57F0F-2727-4614-A7FD-35FD6FCAF6E6}" destId="{219009EE-9B51-4162-9EBA-7B83AECF4795}" srcOrd="1" destOrd="0" presId="urn:microsoft.com/office/officeart/2005/8/layout/process2"/>
    <dgm:cxn modelId="{55043234-748D-4366-9CC2-C6086A841C0E}" type="presOf" srcId="{294402DA-D638-4BA1-B669-C7A658DFF56C}" destId="{2E1F2D2C-88F0-4727-80FE-ADD5804EF2B7}" srcOrd="0" destOrd="0" presId="urn:microsoft.com/office/officeart/2005/8/layout/process2"/>
    <dgm:cxn modelId="{E1367EF1-8F37-4875-9DB1-2698F41BA538}" type="presOf" srcId="{FDFF01D2-F3CC-4D2C-A015-471198A0D6C7}" destId="{0DFF998B-AB70-42CB-B86E-F2EDC6F014F8}" srcOrd="0" destOrd="0" presId="urn:microsoft.com/office/officeart/2005/8/layout/process2"/>
    <dgm:cxn modelId="{B928F4E4-2356-42A4-A0C6-476C3BACF291}" type="presOf" srcId="{78DC5BE3-9B5F-4CD7-B0EC-6566CDEFFE79}" destId="{28AF62BE-D6B0-493F-B896-8629ECF24A49}" srcOrd="0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D876CB6D-CF36-45EE-AAD8-D9876073BB65}" type="presOf" srcId="{E5A0750E-9076-4558-8E66-C53A1107536F}" destId="{EB198668-65DF-4501-B2F3-20013C293CC4}" srcOrd="1" destOrd="0" presId="urn:microsoft.com/office/officeart/2005/8/layout/process2"/>
    <dgm:cxn modelId="{86D98534-DE40-4C05-9C8E-9E6F91EAB01C}" type="presOf" srcId="{2CEC1776-9DE4-48EC-8B3A-CE30A34C08A8}" destId="{408A314B-8D14-452B-BB30-A6CDFBC7604D}" srcOrd="1" destOrd="0" presId="urn:microsoft.com/office/officeart/2005/8/layout/process2"/>
    <dgm:cxn modelId="{35A458F3-DC7C-465E-B9AC-11D775A79FA0}" type="presOf" srcId="{F7237CAD-458A-4DEE-BE25-3568BFF65879}" destId="{6C1BCA69-22CF-4F05-B914-357F6B8C02D5}" srcOrd="0" destOrd="0" presId="urn:microsoft.com/office/officeart/2005/8/layout/process2"/>
    <dgm:cxn modelId="{40A6F487-2B31-4712-8CC1-7F5EF42C23A7}" type="presOf" srcId="{A1FA66E9-6B47-43A9-A691-995B4B7D915F}" destId="{CD5751FF-25F1-44FE-B9E8-824DB4F14981}" srcOrd="0" destOrd="0" presId="urn:microsoft.com/office/officeart/2005/8/layout/process2"/>
    <dgm:cxn modelId="{13E4FD57-BC49-427B-9E32-28CEA5BB93DC}" type="presParOf" srcId="{492AF956-F719-422D-9244-7729846A0ADF}" destId="{85F2BDF6-F9F8-41DC-9874-6F84B6C7034A}" srcOrd="0" destOrd="0" presId="urn:microsoft.com/office/officeart/2005/8/layout/process2"/>
    <dgm:cxn modelId="{4B9382CE-C7D8-49BD-B9A1-54F428D73830}" type="presParOf" srcId="{492AF956-F719-422D-9244-7729846A0ADF}" destId="{44B7898F-5A22-4319-8D85-0B72C2EF45F9}" srcOrd="1" destOrd="0" presId="urn:microsoft.com/office/officeart/2005/8/layout/process2"/>
    <dgm:cxn modelId="{E1EB8B58-F81B-4045-AAB1-6A708CFE2759}" type="presParOf" srcId="{44B7898F-5A22-4319-8D85-0B72C2EF45F9}" destId="{408A314B-8D14-452B-BB30-A6CDFBC7604D}" srcOrd="0" destOrd="0" presId="urn:microsoft.com/office/officeart/2005/8/layout/process2"/>
    <dgm:cxn modelId="{C87803EF-8303-42F4-9A8F-FF306B44F5C1}" type="presParOf" srcId="{492AF956-F719-422D-9244-7729846A0ADF}" destId="{3D35B79B-418E-472B-B684-1ACC0A6CC011}" srcOrd="2" destOrd="0" presId="urn:microsoft.com/office/officeart/2005/8/layout/process2"/>
    <dgm:cxn modelId="{A4D0BD32-48AF-4C2E-B9D3-98255B2814B9}" type="presParOf" srcId="{492AF956-F719-422D-9244-7729846A0ADF}" destId="{6C27A5CC-5F13-4059-9AE7-C0A63DD7EC7E}" srcOrd="3" destOrd="0" presId="urn:microsoft.com/office/officeart/2005/8/layout/process2"/>
    <dgm:cxn modelId="{61F88785-EF0F-432D-BD41-55E02833865D}" type="presParOf" srcId="{6C27A5CC-5F13-4059-9AE7-C0A63DD7EC7E}" destId="{219009EE-9B51-4162-9EBA-7B83AECF4795}" srcOrd="0" destOrd="0" presId="urn:microsoft.com/office/officeart/2005/8/layout/process2"/>
    <dgm:cxn modelId="{C9EDCEDB-F640-4CBB-89ED-7D50B5E81AAD}" type="presParOf" srcId="{492AF956-F719-422D-9244-7729846A0ADF}" destId="{4FD2053B-5A77-4D34-8C66-D50B8724D81E}" srcOrd="4" destOrd="0" presId="urn:microsoft.com/office/officeart/2005/8/layout/process2"/>
    <dgm:cxn modelId="{BD68CE0D-9074-4B78-9B08-1357584251C0}" type="presParOf" srcId="{492AF956-F719-422D-9244-7729846A0ADF}" destId="{F9790B67-A8A7-47D4-8E75-D889EA350148}" srcOrd="5" destOrd="0" presId="urn:microsoft.com/office/officeart/2005/8/layout/process2"/>
    <dgm:cxn modelId="{9F393FF5-2D55-4E31-A0FC-01CAE7D9B3E3}" type="presParOf" srcId="{F9790B67-A8A7-47D4-8E75-D889EA350148}" destId="{5351E9FE-A558-447E-A302-DBACA0DF592D}" srcOrd="0" destOrd="0" presId="urn:microsoft.com/office/officeart/2005/8/layout/process2"/>
    <dgm:cxn modelId="{772699FD-3C31-44B2-BA67-0FB0DA4B53FF}" type="presParOf" srcId="{492AF956-F719-422D-9244-7729846A0ADF}" destId="{7EF63230-6818-417B-9423-2B2909FB868A}" srcOrd="6" destOrd="0" presId="urn:microsoft.com/office/officeart/2005/8/layout/process2"/>
    <dgm:cxn modelId="{500C9DF9-6487-4E37-BC8E-F3EA8C5768FB}" type="presParOf" srcId="{492AF956-F719-422D-9244-7729846A0ADF}" destId="{6C1BCA69-22CF-4F05-B914-357F6B8C02D5}" srcOrd="7" destOrd="0" presId="urn:microsoft.com/office/officeart/2005/8/layout/process2"/>
    <dgm:cxn modelId="{CBD2D5AE-63F3-4A04-90F3-4FDA0D923B3D}" type="presParOf" srcId="{6C1BCA69-22CF-4F05-B914-357F6B8C02D5}" destId="{ADF04F16-ABFC-4DEA-9719-FE2EDEC087DE}" srcOrd="0" destOrd="0" presId="urn:microsoft.com/office/officeart/2005/8/layout/process2"/>
    <dgm:cxn modelId="{1A77AC2B-D15F-47BA-ADD3-A4F22F1D8AB6}" type="presParOf" srcId="{492AF956-F719-422D-9244-7729846A0ADF}" destId="{564A9C2A-4DC0-4B71-8BDC-7615D299EDCD}" srcOrd="8" destOrd="0" presId="urn:microsoft.com/office/officeart/2005/8/layout/process2"/>
    <dgm:cxn modelId="{A6FE79DD-F2AA-4307-B87A-E54398EAC458}" type="presParOf" srcId="{492AF956-F719-422D-9244-7729846A0ADF}" destId="{0DFF998B-AB70-42CB-B86E-F2EDC6F014F8}" srcOrd="9" destOrd="0" presId="urn:microsoft.com/office/officeart/2005/8/layout/process2"/>
    <dgm:cxn modelId="{9DDDFF93-9972-4CB4-9DD1-060470E260A4}" type="presParOf" srcId="{0DFF998B-AB70-42CB-B86E-F2EDC6F014F8}" destId="{98E1D376-F99A-44C4-8AC9-E145DB47BC54}" srcOrd="0" destOrd="0" presId="urn:microsoft.com/office/officeart/2005/8/layout/process2"/>
    <dgm:cxn modelId="{0078E04D-75A2-4982-86F7-9E5CA99C44EA}" type="presParOf" srcId="{492AF956-F719-422D-9244-7729846A0ADF}" destId="{D49DFB90-1383-44F2-BB66-0887BCA7C4E5}" srcOrd="10" destOrd="0" presId="urn:microsoft.com/office/officeart/2005/8/layout/process2"/>
    <dgm:cxn modelId="{65C4400A-C0E3-4E48-9F9F-7E1ADF414344}" type="presParOf" srcId="{492AF956-F719-422D-9244-7729846A0ADF}" destId="{B22BB23F-E05B-4013-81BD-85F13AFDE6D1}" srcOrd="11" destOrd="0" presId="urn:microsoft.com/office/officeart/2005/8/layout/process2"/>
    <dgm:cxn modelId="{39DE54B0-68BF-493C-83DE-EA01DDB59F99}" type="presParOf" srcId="{B22BB23F-E05B-4013-81BD-85F13AFDE6D1}" destId="{3C47B04F-CBBD-4ADD-A6BE-15EEB39DBB7F}" srcOrd="0" destOrd="0" presId="urn:microsoft.com/office/officeart/2005/8/layout/process2"/>
    <dgm:cxn modelId="{B1067401-89EB-496B-97C9-DB8476B14EB7}" type="presParOf" srcId="{492AF956-F719-422D-9244-7729846A0ADF}" destId="{CD5751FF-25F1-44FE-B9E8-824DB4F14981}" srcOrd="12" destOrd="0" presId="urn:microsoft.com/office/officeart/2005/8/layout/process2"/>
    <dgm:cxn modelId="{CD2D47CE-84BC-4B0F-A4F9-5AA09D1D4412}" type="presParOf" srcId="{492AF956-F719-422D-9244-7729846A0ADF}" destId="{28AF62BE-D6B0-493F-B896-8629ECF24A49}" srcOrd="13" destOrd="0" presId="urn:microsoft.com/office/officeart/2005/8/layout/process2"/>
    <dgm:cxn modelId="{601D61D9-BE5F-4FC4-A924-86A75CC3F3F1}" type="presParOf" srcId="{28AF62BE-D6B0-493F-B896-8629ECF24A49}" destId="{D1E38222-CE22-4A67-AEEE-B8A0996FDF5D}" srcOrd="0" destOrd="0" presId="urn:microsoft.com/office/officeart/2005/8/layout/process2"/>
    <dgm:cxn modelId="{EC0A6BCD-3E6B-496B-A8BB-7A69B015768A}" type="presParOf" srcId="{492AF956-F719-422D-9244-7729846A0ADF}" destId="{76E90E60-5B19-4029-8BE8-12C0FAC09B4F}" srcOrd="14" destOrd="0" presId="urn:microsoft.com/office/officeart/2005/8/layout/process2"/>
    <dgm:cxn modelId="{2895D903-03B9-4CE9-B12A-D90567CFCEA6}" type="presParOf" srcId="{492AF956-F719-422D-9244-7729846A0ADF}" destId="{A84114DE-6569-47D6-AD13-3BDCDD5C3236}" srcOrd="15" destOrd="0" presId="urn:microsoft.com/office/officeart/2005/8/layout/process2"/>
    <dgm:cxn modelId="{B2EA3B22-2EEE-41BC-924C-8E6473E1FE33}" type="presParOf" srcId="{A84114DE-6569-47D6-AD13-3BDCDD5C3236}" destId="{EB198668-65DF-4501-B2F3-20013C293CC4}" srcOrd="0" destOrd="0" presId="urn:microsoft.com/office/officeart/2005/8/layout/process2"/>
    <dgm:cxn modelId="{F481E5A5-2545-4ECA-B590-87D05D536D2A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333DBE7-3FFD-49DE-B782-9B70B238839C}" type="presOf" srcId="{9C241770-5D57-447B-B2C6-700BC348595B}" destId="{7EF63230-6818-417B-9423-2B2909FB868A}" srcOrd="0" destOrd="0" presId="urn:microsoft.com/office/officeart/2005/8/layout/process2"/>
    <dgm:cxn modelId="{6BC29DF4-E5F1-4E8D-BDF7-7D532571165F}" type="presOf" srcId="{294402DA-D638-4BA1-B669-C7A658DFF56C}" destId="{2E1F2D2C-88F0-4727-80FE-ADD5804EF2B7}" srcOrd="0" destOrd="0" presId="urn:microsoft.com/office/officeart/2005/8/layout/process2"/>
    <dgm:cxn modelId="{F7B0879A-ADD6-49F6-8FB5-D09B12C32462}" type="presOf" srcId="{2CEC1776-9DE4-48EC-8B3A-CE30A34C08A8}" destId="{44B7898F-5A22-4319-8D85-0B72C2EF45F9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EF088DEA-9A43-49BE-902A-2B811C36BDEC}" type="presOf" srcId="{E5A0750E-9076-4558-8E66-C53A1107536F}" destId="{A84114DE-6569-47D6-AD13-3BDCDD5C3236}" srcOrd="0" destOrd="0" presId="urn:microsoft.com/office/officeart/2005/8/layout/process2"/>
    <dgm:cxn modelId="{6BD4C881-540E-40E1-9E76-F3AA74000415}" type="presOf" srcId="{78DC5BE3-9B5F-4CD7-B0EC-6566CDEFFE79}" destId="{28AF62BE-D6B0-493F-B896-8629ECF24A49}" srcOrd="0" destOrd="0" presId="urn:microsoft.com/office/officeart/2005/8/layout/process2"/>
    <dgm:cxn modelId="{6546DD8E-1D1F-428E-AC8A-B5D95616D0B4}" type="presOf" srcId="{9EFE1160-C5B7-455D-AE24-A575AB41076E}" destId="{D49DFB90-1383-44F2-BB66-0887BCA7C4E5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A50DE754-7937-4EE1-8509-9DA8F73D0F11}" type="presOf" srcId="{F6B57F0F-2727-4614-A7FD-35FD6FCAF6E6}" destId="{6C27A5CC-5F13-4059-9AE7-C0A63DD7EC7E}" srcOrd="0" destOrd="0" presId="urn:microsoft.com/office/officeart/2005/8/layout/process2"/>
    <dgm:cxn modelId="{BA073288-8410-4341-A4E3-5BCDA591C0CB}" type="presOf" srcId="{E5D2D304-F13F-4199-9163-2AD87DD91923}" destId="{85F2BDF6-F9F8-41DC-9874-6F84B6C7034A}" srcOrd="0" destOrd="0" presId="urn:microsoft.com/office/officeart/2005/8/layout/process2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9DDFB59C-326B-49FC-9CAC-0C4D80CF9247}" type="presOf" srcId="{F6B57F0F-2727-4614-A7FD-35FD6FCAF6E6}" destId="{219009EE-9B51-4162-9EBA-7B83AECF4795}" srcOrd="1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42396977-D578-4A22-B1AC-405733E22677}" type="presOf" srcId="{65ADC171-D76B-4DA2-9796-3C9108575BCF}" destId="{4FD2053B-5A77-4D34-8C66-D50B8724D81E}" srcOrd="0" destOrd="0" presId="urn:microsoft.com/office/officeart/2005/8/layout/process2"/>
    <dgm:cxn modelId="{35F7466A-E4A6-4388-9768-37E8D48AA034}" type="presOf" srcId="{EAE0BE0B-47C3-4CD6-817F-ECFB5232CEF3}" destId="{492AF956-F719-422D-9244-7729846A0ADF}" srcOrd="0" destOrd="0" presId="urn:microsoft.com/office/officeart/2005/8/layout/process2"/>
    <dgm:cxn modelId="{034B22B0-4700-447A-8536-93FF191280C0}" type="presOf" srcId="{F7237CAD-458A-4DEE-BE25-3568BFF65879}" destId="{ADF04F16-ABFC-4DEA-9719-FE2EDEC087DE}" srcOrd="1" destOrd="0" presId="urn:microsoft.com/office/officeart/2005/8/layout/process2"/>
    <dgm:cxn modelId="{926C48A1-74AD-4282-A2B1-35BA6EAAF33A}" type="presOf" srcId="{CC0749E6-31F7-4C9D-B494-AD9D61032896}" destId="{3C47B04F-CBBD-4ADD-A6BE-15EEB39DBB7F}" srcOrd="1" destOrd="0" presId="urn:microsoft.com/office/officeart/2005/8/layout/process2"/>
    <dgm:cxn modelId="{E23F4E9B-A315-429A-B47B-4FBC766A6B25}" type="presOf" srcId="{2AE408E0-1AF5-4F80-BFA2-F6C645A283D4}" destId="{5351E9FE-A558-447E-A302-DBACA0DF592D}" srcOrd="1" destOrd="0" presId="urn:microsoft.com/office/officeart/2005/8/layout/process2"/>
    <dgm:cxn modelId="{D502D575-771C-43F3-BC43-939675C66136}" type="presOf" srcId="{F7237CAD-458A-4DEE-BE25-3568BFF65879}" destId="{6C1BCA69-22CF-4F05-B914-357F6B8C02D5}" srcOrd="0" destOrd="0" presId="urn:microsoft.com/office/officeart/2005/8/layout/process2"/>
    <dgm:cxn modelId="{26363298-2F3A-400E-BB67-93A94842C83E}" type="presOf" srcId="{550E20B0-80A8-42F2-BFE2-A3961B05A02A}" destId="{3D35B79B-418E-472B-B684-1ACC0A6CC011}" srcOrd="0" destOrd="0" presId="urn:microsoft.com/office/officeart/2005/8/layout/process2"/>
    <dgm:cxn modelId="{405D629B-471E-4759-89F0-06D0589C3833}" type="presOf" srcId="{CC0749E6-31F7-4C9D-B494-AD9D61032896}" destId="{B22BB23F-E05B-4013-81BD-85F13AFDE6D1}" srcOrd="0" destOrd="0" presId="urn:microsoft.com/office/officeart/2005/8/layout/process2"/>
    <dgm:cxn modelId="{43675201-9DF6-4954-AD32-BB402CCDF770}" type="presOf" srcId="{E5A0750E-9076-4558-8E66-C53A1107536F}" destId="{EB198668-65DF-4501-B2F3-20013C293CC4}" srcOrd="1" destOrd="0" presId="urn:microsoft.com/office/officeart/2005/8/layout/process2"/>
    <dgm:cxn modelId="{46BE1A39-BFC0-41D3-9657-012A5A8A3455}" type="presOf" srcId="{2A49C2D7-12D0-4518-BC98-A3272820B530}" destId="{564A9C2A-4DC0-4B71-8BDC-7615D299EDCD}" srcOrd="0" destOrd="0" presId="urn:microsoft.com/office/officeart/2005/8/layout/process2"/>
    <dgm:cxn modelId="{B240C2E1-C512-4061-859C-F94139B7C475}" type="presOf" srcId="{A1FA66E9-6B47-43A9-A691-995B4B7D915F}" destId="{CD5751FF-25F1-44FE-B9E8-824DB4F14981}" srcOrd="0" destOrd="0" presId="urn:microsoft.com/office/officeart/2005/8/layout/process2"/>
    <dgm:cxn modelId="{9138BC95-BC12-41BE-BA1D-84153D1202F5}" type="presOf" srcId="{2CEC1776-9DE4-48EC-8B3A-CE30A34C08A8}" destId="{408A314B-8D14-452B-BB30-A6CDFBC7604D}" srcOrd="1" destOrd="0" presId="urn:microsoft.com/office/officeart/2005/8/layout/process2"/>
    <dgm:cxn modelId="{E4882445-44CC-4935-A7AB-19254C34CDD0}" type="presOf" srcId="{FDFF01D2-F3CC-4D2C-A015-471198A0D6C7}" destId="{98E1D376-F99A-44C4-8AC9-E145DB47BC54}" srcOrd="1" destOrd="0" presId="urn:microsoft.com/office/officeart/2005/8/layout/process2"/>
    <dgm:cxn modelId="{19BB2054-3CB8-4E22-9D2E-073BA05D4057}" type="presOf" srcId="{1AB6682E-C77A-48CC-818B-2A7EC3934804}" destId="{76E90E60-5B19-4029-8BE8-12C0FAC09B4F}" srcOrd="0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8D461CC8-886F-427A-AB6A-6B7B570F9EB5}" type="presOf" srcId="{78DC5BE3-9B5F-4CD7-B0EC-6566CDEFFE79}" destId="{D1E38222-CE22-4A67-AEEE-B8A0996FDF5D}" srcOrd="1" destOrd="0" presId="urn:microsoft.com/office/officeart/2005/8/layout/process2"/>
    <dgm:cxn modelId="{BF188988-3CDC-4760-AA76-99AFCBF526E0}" type="presOf" srcId="{FDFF01D2-F3CC-4D2C-A015-471198A0D6C7}" destId="{0DFF998B-AB70-42CB-B86E-F2EDC6F014F8}" srcOrd="0" destOrd="0" presId="urn:microsoft.com/office/officeart/2005/8/layout/process2"/>
    <dgm:cxn modelId="{2403511C-26E5-4F58-9FB5-0B5F65DB6077}" type="presOf" srcId="{2AE408E0-1AF5-4F80-BFA2-F6C645A283D4}" destId="{F9790B67-A8A7-47D4-8E75-D889EA350148}" srcOrd="0" destOrd="0" presId="urn:microsoft.com/office/officeart/2005/8/layout/process2"/>
    <dgm:cxn modelId="{FB7F5A42-FC0E-4D6D-B795-1F1BC463F09F}" type="presParOf" srcId="{492AF956-F719-422D-9244-7729846A0ADF}" destId="{85F2BDF6-F9F8-41DC-9874-6F84B6C7034A}" srcOrd="0" destOrd="0" presId="urn:microsoft.com/office/officeart/2005/8/layout/process2"/>
    <dgm:cxn modelId="{8C9479DD-55F2-443B-A6AA-DE17A185F893}" type="presParOf" srcId="{492AF956-F719-422D-9244-7729846A0ADF}" destId="{44B7898F-5A22-4319-8D85-0B72C2EF45F9}" srcOrd="1" destOrd="0" presId="urn:microsoft.com/office/officeart/2005/8/layout/process2"/>
    <dgm:cxn modelId="{02318477-0A8A-4D5F-B29B-802AD254E0D3}" type="presParOf" srcId="{44B7898F-5A22-4319-8D85-0B72C2EF45F9}" destId="{408A314B-8D14-452B-BB30-A6CDFBC7604D}" srcOrd="0" destOrd="0" presId="urn:microsoft.com/office/officeart/2005/8/layout/process2"/>
    <dgm:cxn modelId="{1B2D030F-8F07-403B-B7C5-6BF48AB5CD6A}" type="presParOf" srcId="{492AF956-F719-422D-9244-7729846A0ADF}" destId="{3D35B79B-418E-472B-B684-1ACC0A6CC011}" srcOrd="2" destOrd="0" presId="urn:microsoft.com/office/officeart/2005/8/layout/process2"/>
    <dgm:cxn modelId="{0DF5FFF4-55B4-4D2F-980E-8775EE2F0689}" type="presParOf" srcId="{492AF956-F719-422D-9244-7729846A0ADF}" destId="{6C27A5CC-5F13-4059-9AE7-C0A63DD7EC7E}" srcOrd="3" destOrd="0" presId="urn:microsoft.com/office/officeart/2005/8/layout/process2"/>
    <dgm:cxn modelId="{B9E2FB2A-4BED-48CB-85D5-D147D7D8761B}" type="presParOf" srcId="{6C27A5CC-5F13-4059-9AE7-C0A63DD7EC7E}" destId="{219009EE-9B51-4162-9EBA-7B83AECF4795}" srcOrd="0" destOrd="0" presId="urn:microsoft.com/office/officeart/2005/8/layout/process2"/>
    <dgm:cxn modelId="{D71AFA43-9B46-40AB-84EE-733D6E0B60C9}" type="presParOf" srcId="{492AF956-F719-422D-9244-7729846A0ADF}" destId="{4FD2053B-5A77-4D34-8C66-D50B8724D81E}" srcOrd="4" destOrd="0" presId="urn:microsoft.com/office/officeart/2005/8/layout/process2"/>
    <dgm:cxn modelId="{699D585C-8381-4BEA-A27D-82474A17F161}" type="presParOf" srcId="{492AF956-F719-422D-9244-7729846A0ADF}" destId="{F9790B67-A8A7-47D4-8E75-D889EA350148}" srcOrd="5" destOrd="0" presId="urn:microsoft.com/office/officeart/2005/8/layout/process2"/>
    <dgm:cxn modelId="{CA54C846-9DE2-46D1-B96F-10991D49FFC9}" type="presParOf" srcId="{F9790B67-A8A7-47D4-8E75-D889EA350148}" destId="{5351E9FE-A558-447E-A302-DBACA0DF592D}" srcOrd="0" destOrd="0" presId="urn:microsoft.com/office/officeart/2005/8/layout/process2"/>
    <dgm:cxn modelId="{25D386BD-5396-4D76-8035-766FAA246614}" type="presParOf" srcId="{492AF956-F719-422D-9244-7729846A0ADF}" destId="{7EF63230-6818-417B-9423-2B2909FB868A}" srcOrd="6" destOrd="0" presId="urn:microsoft.com/office/officeart/2005/8/layout/process2"/>
    <dgm:cxn modelId="{213640CA-0AD6-42FF-BEB5-F7DCBAD407B4}" type="presParOf" srcId="{492AF956-F719-422D-9244-7729846A0ADF}" destId="{6C1BCA69-22CF-4F05-B914-357F6B8C02D5}" srcOrd="7" destOrd="0" presId="urn:microsoft.com/office/officeart/2005/8/layout/process2"/>
    <dgm:cxn modelId="{769628C4-BE13-411D-BED4-AEA363AFB477}" type="presParOf" srcId="{6C1BCA69-22CF-4F05-B914-357F6B8C02D5}" destId="{ADF04F16-ABFC-4DEA-9719-FE2EDEC087DE}" srcOrd="0" destOrd="0" presId="urn:microsoft.com/office/officeart/2005/8/layout/process2"/>
    <dgm:cxn modelId="{37453096-2E5B-429C-A844-00FC387F6AEA}" type="presParOf" srcId="{492AF956-F719-422D-9244-7729846A0ADF}" destId="{564A9C2A-4DC0-4B71-8BDC-7615D299EDCD}" srcOrd="8" destOrd="0" presId="urn:microsoft.com/office/officeart/2005/8/layout/process2"/>
    <dgm:cxn modelId="{F4A1E3A1-C070-456F-8597-EF5727CB9322}" type="presParOf" srcId="{492AF956-F719-422D-9244-7729846A0ADF}" destId="{0DFF998B-AB70-42CB-B86E-F2EDC6F014F8}" srcOrd="9" destOrd="0" presId="urn:microsoft.com/office/officeart/2005/8/layout/process2"/>
    <dgm:cxn modelId="{9366E32D-AEC0-476E-BD4E-25B186745B35}" type="presParOf" srcId="{0DFF998B-AB70-42CB-B86E-F2EDC6F014F8}" destId="{98E1D376-F99A-44C4-8AC9-E145DB47BC54}" srcOrd="0" destOrd="0" presId="urn:microsoft.com/office/officeart/2005/8/layout/process2"/>
    <dgm:cxn modelId="{DA03C193-3A7B-4A77-BA01-92D5AC15CE20}" type="presParOf" srcId="{492AF956-F719-422D-9244-7729846A0ADF}" destId="{D49DFB90-1383-44F2-BB66-0887BCA7C4E5}" srcOrd="10" destOrd="0" presId="urn:microsoft.com/office/officeart/2005/8/layout/process2"/>
    <dgm:cxn modelId="{923E876F-95FE-4261-85DA-C745944329B2}" type="presParOf" srcId="{492AF956-F719-422D-9244-7729846A0ADF}" destId="{B22BB23F-E05B-4013-81BD-85F13AFDE6D1}" srcOrd="11" destOrd="0" presId="urn:microsoft.com/office/officeart/2005/8/layout/process2"/>
    <dgm:cxn modelId="{AF1D9115-392C-42CC-8F0E-B5D6EE080D12}" type="presParOf" srcId="{B22BB23F-E05B-4013-81BD-85F13AFDE6D1}" destId="{3C47B04F-CBBD-4ADD-A6BE-15EEB39DBB7F}" srcOrd="0" destOrd="0" presId="urn:microsoft.com/office/officeart/2005/8/layout/process2"/>
    <dgm:cxn modelId="{74557D10-6578-44C9-93C6-6A953B0C43B1}" type="presParOf" srcId="{492AF956-F719-422D-9244-7729846A0ADF}" destId="{CD5751FF-25F1-44FE-B9E8-824DB4F14981}" srcOrd="12" destOrd="0" presId="urn:microsoft.com/office/officeart/2005/8/layout/process2"/>
    <dgm:cxn modelId="{EA36EB06-5186-436E-8C3E-E972675D1A09}" type="presParOf" srcId="{492AF956-F719-422D-9244-7729846A0ADF}" destId="{28AF62BE-D6B0-493F-B896-8629ECF24A49}" srcOrd="13" destOrd="0" presId="urn:microsoft.com/office/officeart/2005/8/layout/process2"/>
    <dgm:cxn modelId="{31C6695F-4D91-46B3-B5C4-CB6575D07834}" type="presParOf" srcId="{28AF62BE-D6B0-493F-B896-8629ECF24A49}" destId="{D1E38222-CE22-4A67-AEEE-B8A0996FDF5D}" srcOrd="0" destOrd="0" presId="urn:microsoft.com/office/officeart/2005/8/layout/process2"/>
    <dgm:cxn modelId="{226D4777-0A7E-4389-869A-D45DC6066D2A}" type="presParOf" srcId="{492AF956-F719-422D-9244-7729846A0ADF}" destId="{76E90E60-5B19-4029-8BE8-12C0FAC09B4F}" srcOrd="14" destOrd="0" presId="urn:microsoft.com/office/officeart/2005/8/layout/process2"/>
    <dgm:cxn modelId="{0EE886C8-A83C-4A44-8221-C76AC03DB5E7}" type="presParOf" srcId="{492AF956-F719-422D-9244-7729846A0ADF}" destId="{A84114DE-6569-47D6-AD13-3BDCDD5C3236}" srcOrd="15" destOrd="0" presId="urn:microsoft.com/office/officeart/2005/8/layout/process2"/>
    <dgm:cxn modelId="{40D1B650-A87D-4E22-8CD5-D91D98472286}" type="presParOf" srcId="{A84114DE-6569-47D6-AD13-3BDCDD5C3236}" destId="{EB198668-65DF-4501-B2F3-20013C293CC4}" srcOrd="0" destOrd="0" presId="urn:microsoft.com/office/officeart/2005/8/layout/process2"/>
    <dgm:cxn modelId="{A742333D-AAAA-49DA-8B4C-C41E7A3F83A5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7674053-9959-4831-BB7D-AA2D2423839B}" type="presOf" srcId="{E5D2D304-F13F-4199-9163-2AD87DD91923}" destId="{85F2BDF6-F9F8-41DC-9874-6F84B6C7034A}" srcOrd="0" destOrd="0" presId="urn:microsoft.com/office/officeart/2005/8/layout/process2"/>
    <dgm:cxn modelId="{A6B0E17F-9639-45A2-AD9B-321E511585B5}" type="presOf" srcId="{F7237CAD-458A-4DEE-BE25-3568BFF65879}" destId="{ADF04F16-ABFC-4DEA-9719-FE2EDEC087DE}" srcOrd="1" destOrd="0" presId="urn:microsoft.com/office/officeart/2005/8/layout/process2"/>
    <dgm:cxn modelId="{49CF0725-08DE-4985-9C9B-734C5CEE45B0}" type="presOf" srcId="{2AE408E0-1AF5-4F80-BFA2-F6C645A283D4}" destId="{5351E9FE-A558-447E-A302-DBACA0DF592D}" srcOrd="1" destOrd="0" presId="urn:microsoft.com/office/officeart/2005/8/layout/process2"/>
    <dgm:cxn modelId="{249CB454-9569-4816-B9BB-5EF20C9A2C8D}" type="presOf" srcId="{F6B57F0F-2727-4614-A7FD-35FD6FCAF6E6}" destId="{6C27A5CC-5F13-4059-9AE7-C0A63DD7EC7E}" srcOrd="0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E1D5ACA3-C00D-478B-B3AF-5821207CDDE8}" type="presOf" srcId="{9C241770-5D57-447B-B2C6-700BC348595B}" destId="{7EF63230-6818-417B-9423-2B2909FB868A}" srcOrd="0" destOrd="0" presId="urn:microsoft.com/office/officeart/2005/8/layout/process2"/>
    <dgm:cxn modelId="{DFEE6D4E-0550-4D07-BDDD-F1E8523C4CC9}" type="presOf" srcId="{2AE408E0-1AF5-4F80-BFA2-F6C645A283D4}" destId="{F9790B67-A8A7-47D4-8E75-D889EA350148}" srcOrd="0" destOrd="0" presId="urn:microsoft.com/office/officeart/2005/8/layout/process2"/>
    <dgm:cxn modelId="{15DF9498-0A51-496F-9C43-879BCAB65D72}" type="presOf" srcId="{294402DA-D638-4BA1-B669-C7A658DFF56C}" destId="{2E1F2D2C-88F0-4727-80FE-ADD5804EF2B7}" srcOrd="0" destOrd="0" presId="urn:microsoft.com/office/officeart/2005/8/layout/process2"/>
    <dgm:cxn modelId="{EEE8B2A5-5FCA-4263-B72D-54C3F9D59033}" type="presOf" srcId="{CC0749E6-31F7-4C9D-B494-AD9D61032896}" destId="{3C47B04F-CBBD-4ADD-A6BE-15EEB39DBB7F}" srcOrd="1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4CF671FD-0C7B-47AF-BDD9-134832CBF63C}" type="presOf" srcId="{2CEC1776-9DE4-48EC-8B3A-CE30A34C08A8}" destId="{44B7898F-5A22-4319-8D85-0B72C2EF45F9}" srcOrd="0" destOrd="0" presId="urn:microsoft.com/office/officeart/2005/8/layout/process2"/>
    <dgm:cxn modelId="{C7E77560-347D-4C7F-86C0-9121FB3B9A20}" type="presOf" srcId="{CC0749E6-31F7-4C9D-B494-AD9D61032896}" destId="{B22BB23F-E05B-4013-81BD-85F13AFDE6D1}" srcOrd="0" destOrd="0" presId="urn:microsoft.com/office/officeart/2005/8/layout/process2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248E9660-7E9A-4B00-B8FC-95668E443E67}" type="presOf" srcId="{78DC5BE3-9B5F-4CD7-B0EC-6566CDEFFE79}" destId="{D1E38222-CE22-4A67-AEEE-B8A0996FDF5D}" srcOrd="1" destOrd="0" presId="urn:microsoft.com/office/officeart/2005/8/layout/process2"/>
    <dgm:cxn modelId="{F904868D-9503-4041-824A-1C4F03988142}" type="presOf" srcId="{EAE0BE0B-47C3-4CD6-817F-ECFB5232CEF3}" destId="{492AF956-F719-422D-9244-7729846A0ADF}" srcOrd="0" destOrd="0" presId="urn:microsoft.com/office/officeart/2005/8/layout/process2"/>
    <dgm:cxn modelId="{24E1A2BF-DB37-4356-854F-48E1A0584DD4}" type="presOf" srcId="{2A49C2D7-12D0-4518-BC98-A3272820B530}" destId="{564A9C2A-4DC0-4B71-8BDC-7615D299EDCD}" srcOrd="0" destOrd="0" presId="urn:microsoft.com/office/officeart/2005/8/layout/process2"/>
    <dgm:cxn modelId="{7E76CAB1-42DC-48D7-9D58-E423BCC3D694}" type="presOf" srcId="{E5A0750E-9076-4558-8E66-C53A1107536F}" destId="{A84114DE-6569-47D6-AD13-3BDCDD5C3236}" srcOrd="0" destOrd="0" presId="urn:microsoft.com/office/officeart/2005/8/layout/process2"/>
    <dgm:cxn modelId="{F4E8C5EE-F978-4F92-9C6C-56A6054B4DAB}" type="presOf" srcId="{F6B57F0F-2727-4614-A7FD-35FD6FCAF6E6}" destId="{219009EE-9B51-4162-9EBA-7B83AECF4795}" srcOrd="1" destOrd="0" presId="urn:microsoft.com/office/officeart/2005/8/layout/process2"/>
    <dgm:cxn modelId="{4EACE16F-4DC5-4940-B306-CA739E380762}" type="presOf" srcId="{9EFE1160-C5B7-455D-AE24-A575AB41076E}" destId="{D49DFB90-1383-44F2-BB66-0887BCA7C4E5}" srcOrd="0" destOrd="0" presId="urn:microsoft.com/office/officeart/2005/8/layout/process2"/>
    <dgm:cxn modelId="{2595BE58-621A-433A-9C9D-81FD5B35706B}" type="presOf" srcId="{FDFF01D2-F3CC-4D2C-A015-471198A0D6C7}" destId="{98E1D376-F99A-44C4-8AC9-E145DB47BC54}" srcOrd="1" destOrd="0" presId="urn:microsoft.com/office/officeart/2005/8/layout/process2"/>
    <dgm:cxn modelId="{0C9F024F-095C-4F7B-8DA8-33654E6A675C}" type="presOf" srcId="{A1FA66E9-6B47-43A9-A691-995B4B7D915F}" destId="{CD5751FF-25F1-44FE-B9E8-824DB4F14981}" srcOrd="0" destOrd="0" presId="urn:microsoft.com/office/officeart/2005/8/layout/process2"/>
    <dgm:cxn modelId="{6723494B-A8D8-438E-902D-12FA34AF97A1}" type="presOf" srcId="{1AB6682E-C77A-48CC-818B-2A7EC3934804}" destId="{76E90E60-5B19-4029-8BE8-12C0FAC09B4F}" srcOrd="0" destOrd="0" presId="urn:microsoft.com/office/officeart/2005/8/layout/process2"/>
    <dgm:cxn modelId="{E7F52FF0-4CAD-4DF3-A215-090D89D4831A}" type="presOf" srcId="{550E20B0-80A8-42F2-BFE2-A3961B05A02A}" destId="{3D35B79B-418E-472B-B684-1ACC0A6CC011}" srcOrd="0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0E7914EA-D197-4AD4-8DB4-E2769CE057AE}" type="presOf" srcId="{65ADC171-D76B-4DA2-9796-3C9108575BCF}" destId="{4FD2053B-5A77-4D34-8C66-D50B8724D81E}" srcOrd="0" destOrd="0" presId="urn:microsoft.com/office/officeart/2005/8/layout/process2"/>
    <dgm:cxn modelId="{C054A766-18C4-49D1-8C26-64A27E8B21AF}" type="presOf" srcId="{F7237CAD-458A-4DEE-BE25-3568BFF65879}" destId="{6C1BCA69-22CF-4F05-B914-357F6B8C02D5}" srcOrd="0" destOrd="0" presId="urn:microsoft.com/office/officeart/2005/8/layout/process2"/>
    <dgm:cxn modelId="{BF5ECEE4-045A-4EC2-9395-6A6013AD27ED}" type="presOf" srcId="{E5A0750E-9076-4558-8E66-C53A1107536F}" destId="{EB198668-65DF-4501-B2F3-20013C293CC4}" srcOrd="1" destOrd="0" presId="urn:microsoft.com/office/officeart/2005/8/layout/process2"/>
    <dgm:cxn modelId="{70964CDD-BC6C-484F-9CB3-68FC93F13989}" type="presOf" srcId="{FDFF01D2-F3CC-4D2C-A015-471198A0D6C7}" destId="{0DFF998B-AB70-42CB-B86E-F2EDC6F014F8}" srcOrd="0" destOrd="0" presId="urn:microsoft.com/office/officeart/2005/8/layout/process2"/>
    <dgm:cxn modelId="{0CD6F95F-F276-454F-AC17-13CA6DD486CF}" type="presOf" srcId="{78DC5BE3-9B5F-4CD7-B0EC-6566CDEFFE79}" destId="{28AF62BE-D6B0-493F-B896-8629ECF24A49}" srcOrd="0" destOrd="0" presId="urn:microsoft.com/office/officeart/2005/8/layout/process2"/>
    <dgm:cxn modelId="{E0CAAE4D-8619-49A2-9ABB-FEAEA91FBA47}" type="presOf" srcId="{2CEC1776-9DE4-48EC-8B3A-CE30A34C08A8}" destId="{408A314B-8D14-452B-BB30-A6CDFBC7604D}" srcOrd="1" destOrd="0" presId="urn:microsoft.com/office/officeart/2005/8/layout/process2"/>
    <dgm:cxn modelId="{13E6A279-9511-4224-953D-2B24E6E2DDEC}" type="presParOf" srcId="{492AF956-F719-422D-9244-7729846A0ADF}" destId="{85F2BDF6-F9F8-41DC-9874-6F84B6C7034A}" srcOrd="0" destOrd="0" presId="urn:microsoft.com/office/officeart/2005/8/layout/process2"/>
    <dgm:cxn modelId="{B4EB1B1C-612C-4299-93E9-8F76567572AA}" type="presParOf" srcId="{492AF956-F719-422D-9244-7729846A0ADF}" destId="{44B7898F-5A22-4319-8D85-0B72C2EF45F9}" srcOrd="1" destOrd="0" presId="urn:microsoft.com/office/officeart/2005/8/layout/process2"/>
    <dgm:cxn modelId="{31241F6F-0CC1-4BF9-AD57-50DF4D17F1FD}" type="presParOf" srcId="{44B7898F-5A22-4319-8D85-0B72C2EF45F9}" destId="{408A314B-8D14-452B-BB30-A6CDFBC7604D}" srcOrd="0" destOrd="0" presId="urn:microsoft.com/office/officeart/2005/8/layout/process2"/>
    <dgm:cxn modelId="{D90ABF6D-7BCD-4231-9C99-827FE4A9963B}" type="presParOf" srcId="{492AF956-F719-422D-9244-7729846A0ADF}" destId="{3D35B79B-418E-472B-B684-1ACC0A6CC011}" srcOrd="2" destOrd="0" presId="urn:microsoft.com/office/officeart/2005/8/layout/process2"/>
    <dgm:cxn modelId="{68F8725E-1D18-4674-8BAB-A0050B02AAF5}" type="presParOf" srcId="{492AF956-F719-422D-9244-7729846A0ADF}" destId="{6C27A5CC-5F13-4059-9AE7-C0A63DD7EC7E}" srcOrd="3" destOrd="0" presId="urn:microsoft.com/office/officeart/2005/8/layout/process2"/>
    <dgm:cxn modelId="{645C55F8-0733-4502-ABF1-213F1D6C5815}" type="presParOf" srcId="{6C27A5CC-5F13-4059-9AE7-C0A63DD7EC7E}" destId="{219009EE-9B51-4162-9EBA-7B83AECF4795}" srcOrd="0" destOrd="0" presId="urn:microsoft.com/office/officeart/2005/8/layout/process2"/>
    <dgm:cxn modelId="{BEA6891B-5F8F-423F-803E-0A0EA3AD493E}" type="presParOf" srcId="{492AF956-F719-422D-9244-7729846A0ADF}" destId="{4FD2053B-5A77-4D34-8C66-D50B8724D81E}" srcOrd="4" destOrd="0" presId="urn:microsoft.com/office/officeart/2005/8/layout/process2"/>
    <dgm:cxn modelId="{80E16484-FD3C-4F0D-81F7-2E2EF8A88856}" type="presParOf" srcId="{492AF956-F719-422D-9244-7729846A0ADF}" destId="{F9790B67-A8A7-47D4-8E75-D889EA350148}" srcOrd="5" destOrd="0" presId="urn:microsoft.com/office/officeart/2005/8/layout/process2"/>
    <dgm:cxn modelId="{54B03BCE-A79E-4DE9-83A1-4FE5B8E1E42C}" type="presParOf" srcId="{F9790B67-A8A7-47D4-8E75-D889EA350148}" destId="{5351E9FE-A558-447E-A302-DBACA0DF592D}" srcOrd="0" destOrd="0" presId="urn:microsoft.com/office/officeart/2005/8/layout/process2"/>
    <dgm:cxn modelId="{52410B4F-5FDA-4D5F-BBF6-927E03F16D4E}" type="presParOf" srcId="{492AF956-F719-422D-9244-7729846A0ADF}" destId="{7EF63230-6818-417B-9423-2B2909FB868A}" srcOrd="6" destOrd="0" presId="urn:microsoft.com/office/officeart/2005/8/layout/process2"/>
    <dgm:cxn modelId="{C201C937-EE3E-49D6-82CA-251B6513C7DA}" type="presParOf" srcId="{492AF956-F719-422D-9244-7729846A0ADF}" destId="{6C1BCA69-22CF-4F05-B914-357F6B8C02D5}" srcOrd="7" destOrd="0" presId="urn:microsoft.com/office/officeart/2005/8/layout/process2"/>
    <dgm:cxn modelId="{2851399C-CC5E-433F-A6CD-ECB3993CAD96}" type="presParOf" srcId="{6C1BCA69-22CF-4F05-B914-357F6B8C02D5}" destId="{ADF04F16-ABFC-4DEA-9719-FE2EDEC087DE}" srcOrd="0" destOrd="0" presId="urn:microsoft.com/office/officeart/2005/8/layout/process2"/>
    <dgm:cxn modelId="{E8B4E2C1-AA76-443A-9304-BE1D26958482}" type="presParOf" srcId="{492AF956-F719-422D-9244-7729846A0ADF}" destId="{564A9C2A-4DC0-4B71-8BDC-7615D299EDCD}" srcOrd="8" destOrd="0" presId="urn:microsoft.com/office/officeart/2005/8/layout/process2"/>
    <dgm:cxn modelId="{90CCC227-FDB4-427E-B201-626AB7B79DC3}" type="presParOf" srcId="{492AF956-F719-422D-9244-7729846A0ADF}" destId="{0DFF998B-AB70-42CB-B86E-F2EDC6F014F8}" srcOrd="9" destOrd="0" presId="urn:microsoft.com/office/officeart/2005/8/layout/process2"/>
    <dgm:cxn modelId="{8E43C774-D5AA-4D60-9A7A-9AAE51DE514C}" type="presParOf" srcId="{0DFF998B-AB70-42CB-B86E-F2EDC6F014F8}" destId="{98E1D376-F99A-44C4-8AC9-E145DB47BC54}" srcOrd="0" destOrd="0" presId="urn:microsoft.com/office/officeart/2005/8/layout/process2"/>
    <dgm:cxn modelId="{D9E1FE1D-1290-4C71-A5B7-806FE8691097}" type="presParOf" srcId="{492AF956-F719-422D-9244-7729846A0ADF}" destId="{D49DFB90-1383-44F2-BB66-0887BCA7C4E5}" srcOrd="10" destOrd="0" presId="urn:microsoft.com/office/officeart/2005/8/layout/process2"/>
    <dgm:cxn modelId="{793B74C3-FB95-4508-924A-1179341886B4}" type="presParOf" srcId="{492AF956-F719-422D-9244-7729846A0ADF}" destId="{B22BB23F-E05B-4013-81BD-85F13AFDE6D1}" srcOrd="11" destOrd="0" presId="urn:microsoft.com/office/officeart/2005/8/layout/process2"/>
    <dgm:cxn modelId="{7BA65FF4-CA38-4B46-B0A4-5CCA2457D337}" type="presParOf" srcId="{B22BB23F-E05B-4013-81BD-85F13AFDE6D1}" destId="{3C47B04F-CBBD-4ADD-A6BE-15EEB39DBB7F}" srcOrd="0" destOrd="0" presId="urn:microsoft.com/office/officeart/2005/8/layout/process2"/>
    <dgm:cxn modelId="{F7C778A1-B295-4E18-B724-A9E74C44B8D4}" type="presParOf" srcId="{492AF956-F719-422D-9244-7729846A0ADF}" destId="{CD5751FF-25F1-44FE-B9E8-824DB4F14981}" srcOrd="12" destOrd="0" presId="urn:microsoft.com/office/officeart/2005/8/layout/process2"/>
    <dgm:cxn modelId="{ED485CB3-FB78-4CF3-B434-5E59C303ECB2}" type="presParOf" srcId="{492AF956-F719-422D-9244-7729846A0ADF}" destId="{28AF62BE-D6B0-493F-B896-8629ECF24A49}" srcOrd="13" destOrd="0" presId="urn:microsoft.com/office/officeart/2005/8/layout/process2"/>
    <dgm:cxn modelId="{CE0EDA06-6C5A-4480-8AB5-3805CCEC21B2}" type="presParOf" srcId="{28AF62BE-D6B0-493F-B896-8629ECF24A49}" destId="{D1E38222-CE22-4A67-AEEE-B8A0996FDF5D}" srcOrd="0" destOrd="0" presId="urn:microsoft.com/office/officeart/2005/8/layout/process2"/>
    <dgm:cxn modelId="{736B063F-A68F-4678-8802-206DA89BD5A7}" type="presParOf" srcId="{492AF956-F719-422D-9244-7729846A0ADF}" destId="{76E90E60-5B19-4029-8BE8-12C0FAC09B4F}" srcOrd="14" destOrd="0" presId="urn:microsoft.com/office/officeart/2005/8/layout/process2"/>
    <dgm:cxn modelId="{FAEB1F5C-91F6-478E-AB0E-171860B39474}" type="presParOf" srcId="{492AF956-F719-422D-9244-7729846A0ADF}" destId="{A84114DE-6569-47D6-AD13-3BDCDD5C3236}" srcOrd="15" destOrd="0" presId="urn:microsoft.com/office/officeart/2005/8/layout/process2"/>
    <dgm:cxn modelId="{FFCD23D2-46BC-47D6-A220-DF185462CCEC}" type="presParOf" srcId="{A84114DE-6569-47D6-AD13-3BDCDD5C3236}" destId="{EB198668-65DF-4501-B2F3-20013C293CC4}" srcOrd="0" destOrd="0" presId="urn:microsoft.com/office/officeart/2005/8/layout/process2"/>
    <dgm:cxn modelId="{EC4184FE-5FB3-4DDD-9301-10D707CE9030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AE0BE0B-47C3-4CD6-817F-ECFB5232CEF3}" type="doc">
      <dgm:prSet loTypeId="urn:microsoft.com/office/officeart/2005/8/layout/process2" loCatId="process" qsTypeId="urn:microsoft.com/office/officeart/2005/8/quickstyle/simple1" qsCatId="simple" csTypeId="urn:microsoft.com/office/officeart/2005/8/colors/accent2_1" csCatId="accent2" phldr="1"/>
      <dgm:spPr/>
    </dgm:pt>
    <dgm:pt modelId="{E5D2D304-F13F-4199-9163-2AD87DD91923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736A1101-4FD3-4A86-A83F-F5F1C5224AF2}" type="parTrans" cxnId="{FC6332CC-8CAD-4688-9793-0A699CB73093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CEC1776-9DE4-48EC-8B3A-CE30A34C08A8}" type="sibTrans" cxnId="{FC6332CC-8CAD-4688-9793-0A699CB73093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1AB6682E-C77A-48CC-818B-2A7EC3934804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A6FF89CA-E2BE-4CDD-A24C-B0B1CB01987B}" type="parTrans" cxnId="{127950D3-335C-49DD-A6DA-D49D08CCF43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E5A0750E-9076-4558-8E66-C53A1107536F}" type="sibTrans" cxnId="{127950D3-335C-49DD-A6DA-D49D08CCF43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94402DA-D638-4BA1-B669-C7A658DFF56C}">
      <dgm:prSet phldrT="[Texte]"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Cas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DB1A8D50-BB30-4E3B-9FBF-E1F6793CAAA2}" type="par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0C5299-FC82-4673-B7B9-417344C0DCAA}" type="sibTrans" cxnId="{71B48048-64DD-4727-8792-38DF03B96AD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65ADC171-D76B-4DA2-9796-3C9108575BC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4F1B7BF3-C416-4B8E-9893-58884FAAAA3A}" type="parTrans" cxnId="{7A421254-8C09-4786-92F4-2A5D748B8FE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E408E0-1AF5-4F80-BFA2-F6C645A283D4}" type="sibTrans" cxnId="{7A421254-8C09-4786-92F4-2A5D748B8FE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C241770-5D57-447B-B2C6-700BC348595B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1AB0182E-7B5C-4E23-8170-0540F39E7BCD}" type="parTrans" cxnId="{7088608F-0AEE-4614-B72D-F23D6C671C78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7237CAD-458A-4DEE-BE25-3568BFF65879}" type="sibTrans" cxnId="{7088608F-0AEE-4614-B72D-F23D6C671C78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2A49C2D7-12D0-4518-BC98-A3272820B530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F7CA40F8-C1DA-4CCC-997C-49389366A1F8}" type="parTrans" cxnId="{523A04D9-462D-4D5D-8ECB-610622AFDCC5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DFF01D2-F3CC-4D2C-A015-471198A0D6C7}" type="sibTrans" cxnId="{523A04D9-462D-4D5D-8ECB-610622AFDCC5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9EFE1160-C5B7-455D-AE24-A575AB41076E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2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67CC3331-AE8D-41C3-AF58-8DECD485B2D3}" type="parTrans" cxnId="{118EBEB7-8BBC-403C-8C68-91092098A309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CC0749E6-31F7-4C9D-B494-AD9D61032896}" type="sibTrans" cxnId="{118EBEB7-8BBC-403C-8C68-91092098A309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A1FA66E9-6B47-43A9-A691-995B4B7D915F}">
      <dgm:prSet custT="1"/>
      <dgm:spPr/>
      <dgm:t>
        <a:bodyPr/>
        <a:lstStyle/>
        <a:p>
          <a:r>
            <a:rPr lang="fr-FR" sz="950" dirty="0" smtClean="0">
              <a:latin typeface="Arial" pitchFamily="34" charset="0"/>
              <a:cs typeface="Arial" pitchFamily="34" charset="0"/>
            </a:rPr>
            <a:t>Phase 3 :</a:t>
          </a:r>
        </a:p>
        <a:p>
          <a:r>
            <a:rPr lang="fr-FR" sz="95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dirty="0">
            <a:latin typeface="Arial" pitchFamily="34" charset="0"/>
            <a:cs typeface="Arial" pitchFamily="34" charset="0"/>
          </a:endParaRPr>
        </a:p>
      </dgm:t>
    </dgm:pt>
    <dgm:pt modelId="{EB158AC2-CBAE-4B26-A0B8-08B1BDA97F7A}" type="parTrans" cxnId="{1F142B0F-D4FF-49C9-A807-3F4B06A1F632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78DC5BE3-9B5F-4CD7-B0EC-6566CDEFFE79}" type="sibTrans" cxnId="{1F142B0F-D4FF-49C9-A807-3F4B06A1F632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550E20B0-80A8-42F2-BFE2-A3961B05A02A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r>
            <a:rPr lang="fr-FR" sz="95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38585612-B19C-4E60-A5B1-689F14B19B22}" type="parTrans" cxnId="{7953F032-F18D-49A4-9992-C23DCF8FAE66}">
      <dgm:prSet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F6B57F0F-2727-4614-A7FD-35FD6FCAF6E6}" type="sibTrans" cxnId="{7953F032-F18D-49A4-9992-C23DCF8FAE66}">
      <dgm:prSet custT="1"/>
      <dgm:spPr/>
      <dgm:t>
        <a:bodyPr/>
        <a:lstStyle/>
        <a:p>
          <a:endParaRPr lang="fr-FR" sz="950">
            <a:latin typeface="Arial" pitchFamily="34" charset="0"/>
            <a:cs typeface="Arial" pitchFamily="34" charset="0"/>
          </a:endParaRPr>
        </a:p>
      </dgm:t>
    </dgm:pt>
    <dgm:pt modelId="{492AF956-F719-422D-9244-7729846A0ADF}" type="pres">
      <dgm:prSet presAssocID="{EAE0BE0B-47C3-4CD6-817F-ECFB5232CEF3}" presName="linearFlow" presStyleCnt="0">
        <dgm:presLayoutVars>
          <dgm:resizeHandles val="exact"/>
        </dgm:presLayoutVars>
      </dgm:prSet>
      <dgm:spPr/>
    </dgm:pt>
    <dgm:pt modelId="{85F2BDF6-F9F8-41DC-9874-6F84B6C7034A}" type="pres">
      <dgm:prSet presAssocID="{E5D2D304-F13F-4199-9163-2AD87DD91923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B7898F-5A22-4319-8D85-0B72C2EF45F9}" type="pres">
      <dgm:prSet presAssocID="{2CEC1776-9DE4-48EC-8B3A-CE30A34C08A8}" presName="sibTrans" presStyleLbl="sibTrans2D1" presStyleIdx="0" presStyleCnt="8"/>
      <dgm:spPr/>
      <dgm:t>
        <a:bodyPr/>
        <a:lstStyle/>
        <a:p>
          <a:endParaRPr lang="fr-FR"/>
        </a:p>
      </dgm:t>
    </dgm:pt>
    <dgm:pt modelId="{408A314B-8D14-452B-BB30-A6CDFBC7604D}" type="pres">
      <dgm:prSet presAssocID="{2CEC1776-9DE4-48EC-8B3A-CE30A34C08A8}" presName="connectorText" presStyleLbl="sibTrans2D1" presStyleIdx="0" presStyleCnt="8"/>
      <dgm:spPr/>
      <dgm:t>
        <a:bodyPr/>
        <a:lstStyle/>
        <a:p>
          <a:endParaRPr lang="fr-FR"/>
        </a:p>
      </dgm:t>
    </dgm:pt>
    <dgm:pt modelId="{3D35B79B-418E-472B-B684-1ACC0A6CC011}" type="pres">
      <dgm:prSet presAssocID="{550E20B0-80A8-42F2-BFE2-A3961B05A02A}" presName="node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27A5CC-5F13-4059-9AE7-C0A63DD7EC7E}" type="pres">
      <dgm:prSet presAssocID="{F6B57F0F-2727-4614-A7FD-35FD6FCAF6E6}" presName="sibTrans" presStyleLbl="sibTrans2D1" presStyleIdx="1" presStyleCnt="8"/>
      <dgm:spPr/>
      <dgm:t>
        <a:bodyPr/>
        <a:lstStyle/>
        <a:p>
          <a:endParaRPr lang="fr-FR"/>
        </a:p>
      </dgm:t>
    </dgm:pt>
    <dgm:pt modelId="{219009EE-9B51-4162-9EBA-7B83AECF4795}" type="pres">
      <dgm:prSet presAssocID="{F6B57F0F-2727-4614-A7FD-35FD6FCAF6E6}" presName="connectorText" presStyleLbl="sibTrans2D1" presStyleIdx="1" presStyleCnt="8"/>
      <dgm:spPr/>
      <dgm:t>
        <a:bodyPr/>
        <a:lstStyle/>
        <a:p>
          <a:endParaRPr lang="fr-FR"/>
        </a:p>
      </dgm:t>
    </dgm:pt>
    <dgm:pt modelId="{4FD2053B-5A77-4D34-8C66-D50B8724D81E}" type="pres">
      <dgm:prSet presAssocID="{65ADC171-D76B-4DA2-9796-3C9108575BCF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9790B67-A8A7-47D4-8E75-D889EA350148}" type="pres">
      <dgm:prSet presAssocID="{2AE408E0-1AF5-4F80-BFA2-F6C645A283D4}" presName="sibTrans" presStyleLbl="sibTrans2D1" presStyleIdx="2" presStyleCnt="8"/>
      <dgm:spPr/>
      <dgm:t>
        <a:bodyPr/>
        <a:lstStyle/>
        <a:p>
          <a:endParaRPr lang="fr-FR"/>
        </a:p>
      </dgm:t>
    </dgm:pt>
    <dgm:pt modelId="{5351E9FE-A558-447E-A302-DBACA0DF592D}" type="pres">
      <dgm:prSet presAssocID="{2AE408E0-1AF5-4F80-BFA2-F6C645A283D4}" presName="connectorText" presStyleLbl="sibTrans2D1" presStyleIdx="2" presStyleCnt="8"/>
      <dgm:spPr/>
      <dgm:t>
        <a:bodyPr/>
        <a:lstStyle/>
        <a:p>
          <a:endParaRPr lang="fr-FR"/>
        </a:p>
      </dgm:t>
    </dgm:pt>
    <dgm:pt modelId="{7EF63230-6818-417B-9423-2B2909FB868A}" type="pres">
      <dgm:prSet presAssocID="{9C241770-5D57-447B-B2C6-700BC348595B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1BCA69-22CF-4F05-B914-357F6B8C02D5}" type="pres">
      <dgm:prSet presAssocID="{F7237CAD-458A-4DEE-BE25-3568BFF65879}" presName="sibTrans" presStyleLbl="sibTrans2D1" presStyleIdx="3" presStyleCnt="8"/>
      <dgm:spPr/>
      <dgm:t>
        <a:bodyPr/>
        <a:lstStyle/>
        <a:p>
          <a:endParaRPr lang="fr-FR"/>
        </a:p>
      </dgm:t>
    </dgm:pt>
    <dgm:pt modelId="{ADF04F16-ABFC-4DEA-9719-FE2EDEC087DE}" type="pres">
      <dgm:prSet presAssocID="{F7237CAD-458A-4DEE-BE25-3568BFF65879}" presName="connectorText" presStyleLbl="sibTrans2D1" presStyleIdx="3" presStyleCnt="8"/>
      <dgm:spPr/>
      <dgm:t>
        <a:bodyPr/>
        <a:lstStyle/>
        <a:p>
          <a:endParaRPr lang="fr-FR"/>
        </a:p>
      </dgm:t>
    </dgm:pt>
    <dgm:pt modelId="{564A9C2A-4DC0-4B71-8BDC-7615D299EDCD}" type="pres">
      <dgm:prSet presAssocID="{2A49C2D7-12D0-4518-BC98-A3272820B530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DFF998B-AB70-42CB-B86E-F2EDC6F014F8}" type="pres">
      <dgm:prSet presAssocID="{FDFF01D2-F3CC-4D2C-A015-471198A0D6C7}" presName="sibTrans" presStyleLbl="sibTrans2D1" presStyleIdx="4" presStyleCnt="8"/>
      <dgm:spPr/>
      <dgm:t>
        <a:bodyPr/>
        <a:lstStyle/>
        <a:p>
          <a:endParaRPr lang="fr-FR"/>
        </a:p>
      </dgm:t>
    </dgm:pt>
    <dgm:pt modelId="{98E1D376-F99A-44C4-8AC9-E145DB47BC54}" type="pres">
      <dgm:prSet presAssocID="{FDFF01D2-F3CC-4D2C-A015-471198A0D6C7}" presName="connectorText" presStyleLbl="sibTrans2D1" presStyleIdx="4" presStyleCnt="8"/>
      <dgm:spPr/>
      <dgm:t>
        <a:bodyPr/>
        <a:lstStyle/>
        <a:p>
          <a:endParaRPr lang="fr-FR"/>
        </a:p>
      </dgm:t>
    </dgm:pt>
    <dgm:pt modelId="{D49DFB90-1383-44F2-BB66-0887BCA7C4E5}" type="pres">
      <dgm:prSet presAssocID="{9EFE1160-C5B7-455D-AE24-A575AB41076E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22BB23F-E05B-4013-81BD-85F13AFDE6D1}" type="pres">
      <dgm:prSet presAssocID="{CC0749E6-31F7-4C9D-B494-AD9D61032896}" presName="sibTrans" presStyleLbl="sibTrans2D1" presStyleIdx="5" presStyleCnt="8"/>
      <dgm:spPr/>
      <dgm:t>
        <a:bodyPr/>
        <a:lstStyle/>
        <a:p>
          <a:endParaRPr lang="fr-FR"/>
        </a:p>
      </dgm:t>
    </dgm:pt>
    <dgm:pt modelId="{3C47B04F-CBBD-4ADD-A6BE-15EEB39DBB7F}" type="pres">
      <dgm:prSet presAssocID="{CC0749E6-31F7-4C9D-B494-AD9D61032896}" presName="connectorText" presStyleLbl="sibTrans2D1" presStyleIdx="5" presStyleCnt="8"/>
      <dgm:spPr/>
      <dgm:t>
        <a:bodyPr/>
        <a:lstStyle/>
        <a:p>
          <a:endParaRPr lang="fr-FR"/>
        </a:p>
      </dgm:t>
    </dgm:pt>
    <dgm:pt modelId="{CD5751FF-25F1-44FE-B9E8-824DB4F14981}" type="pres">
      <dgm:prSet presAssocID="{A1FA66E9-6B47-43A9-A691-995B4B7D915F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AF62BE-D6B0-493F-B896-8629ECF24A49}" type="pres">
      <dgm:prSet presAssocID="{78DC5BE3-9B5F-4CD7-B0EC-6566CDEFFE79}" presName="sibTrans" presStyleLbl="sibTrans2D1" presStyleIdx="6" presStyleCnt="8"/>
      <dgm:spPr/>
      <dgm:t>
        <a:bodyPr/>
        <a:lstStyle/>
        <a:p>
          <a:endParaRPr lang="fr-FR"/>
        </a:p>
      </dgm:t>
    </dgm:pt>
    <dgm:pt modelId="{D1E38222-CE22-4A67-AEEE-B8A0996FDF5D}" type="pres">
      <dgm:prSet presAssocID="{78DC5BE3-9B5F-4CD7-B0EC-6566CDEFFE79}" presName="connectorText" presStyleLbl="sibTrans2D1" presStyleIdx="6" presStyleCnt="8"/>
      <dgm:spPr/>
      <dgm:t>
        <a:bodyPr/>
        <a:lstStyle/>
        <a:p>
          <a:endParaRPr lang="fr-FR"/>
        </a:p>
      </dgm:t>
    </dgm:pt>
    <dgm:pt modelId="{76E90E60-5B19-4029-8BE8-12C0FAC09B4F}" type="pres">
      <dgm:prSet presAssocID="{1AB6682E-C77A-48CC-818B-2A7EC3934804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4114DE-6569-47D6-AD13-3BDCDD5C3236}" type="pres">
      <dgm:prSet presAssocID="{E5A0750E-9076-4558-8E66-C53A1107536F}" presName="sibTrans" presStyleLbl="sibTrans2D1" presStyleIdx="7" presStyleCnt="8"/>
      <dgm:spPr/>
      <dgm:t>
        <a:bodyPr/>
        <a:lstStyle/>
        <a:p>
          <a:endParaRPr lang="fr-FR"/>
        </a:p>
      </dgm:t>
    </dgm:pt>
    <dgm:pt modelId="{EB198668-65DF-4501-B2F3-20013C293CC4}" type="pres">
      <dgm:prSet presAssocID="{E5A0750E-9076-4558-8E66-C53A1107536F}" presName="connectorText" presStyleLbl="sibTrans2D1" presStyleIdx="7" presStyleCnt="8"/>
      <dgm:spPr/>
      <dgm:t>
        <a:bodyPr/>
        <a:lstStyle/>
        <a:p>
          <a:endParaRPr lang="fr-FR"/>
        </a:p>
      </dgm:t>
    </dgm:pt>
    <dgm:pt modelId="{2E1F2D2C-88F0-4727-80FE-ADD5804EF2B7}" type="pres">
      <dgm:prSet presAssocID="{294402DA-D638-4BA1-B669-C7A658DFF56C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48A0BBE-2551-48E2-821E-3C88A89C3DDD}" type="presOf" srcId="{E5A0750E-9076-4558-8E66-C53A1107536F}" destId="{EB198668-65DF-4501-B2F3-20013C293CC4}" srcOrd="1" destOrd="0" presId="urn:microsoft.com/office/officeart/2005/8/layout/process2"/>
    <dgm:cxn modelId="{87CC7A58-6579-4C46-A3CB-569C06749EAA}" type="presOf" srcId="{EAE0BE0B-47C3-4CD6-817F-ECFB5232CEF3}" destId="{492AF956-F719-422D-9244-7729846A0ADF}" srcOrd="0" destOrd="0" presId="urn:microsoft.com/office/officeart/2005/8/layout/process2"/>
    <dgm:cxn modelId="{14A5E0DE-1B08-436D-ACFD-BEED054A7590}" type="presOf" srcId="{9C241770-5D57-447B-B2C6-700BC348595B}" destId="{7EF63230-6818-417B-9423-2B2909FB868A}" srcOrd="0" destOrd="0" presId="urn:microsoft.com/office/officeart/2005/8/layout/process2"/>
    <dgm:cxn modelId="{AC8EFFE2-0818-413E-9DBA-E8F020E5CC83}" type="presOf" srcId="{550E20B0-80A8-42F2-BFE2-A3961B05A02A}" destId="{3D35B79B-418E-472B-B684-1ACC0A6CC011}" srcOrd="0" destOrd="0" presId="urn:microsoft.com/office/officeart/2005/8/layout/process2"/>
    <dgm:cxn modelId="{B9C8BE6A-4982-4F59-A68A-F4F3A0E84B5D}" type="presOf" srcId="{FDFF01D2-F3CC-4D2C-A015-471198A0D6C7}" destId="{98E1D376-F99A-44C4-8AC9-E145DB47BC54}" srcOrd="1" destOrd="0" presId="urn:microsoft.com/office/officeart/2005/8/layout/process2"/>
    <dgm:cxn modelId="{FC6332CC-8CAD-4688-9793-0A699CB73093}" srcId="{EAE0BE0B-47C3-4CD6-817F-ECFB5232CEF3}" destId="{E5D2D304-F13F-4199-9163-2AD87DD91923}" srcOrd="0" destOrd="0" parTransId="{736A1101-4FD3-4A86-A83F-F5F1C5224AF2}" sibTransId="{2CEC1776-9DE4-48EC-8B3A-CE30A34C08A8}"/>
    <dgm:cxn modelId="{127950D3-335C-49DD-A6DA-D49D08CCF438}" srcId="{EAE0BE0B-47C3-4CD6-817F-ECFB5232CEF3}" destId="{1AB6682E-C77A-48CC-818B-2A7EC3934804}" srcOrd="7" destOrd="0" parTransId="{A6FF89CA-E2BE-4CDD-A24C-B0B1CB01987B}" sibTransId="{E5A0750E-9076-4558-8E66-C53A1107536F}"/>
    <dgm:cxn modelId="{0CB122B1-E470-436F-8C76-A96E69698E8F}" type="presOf" srcId="{CC0749E6-31F7-4C9D-B494-AD9D61032896}" destId="{3C47B04F-CBBD-4ADD-A6BE-15EEB39DBB7F}" srcOrd="1" destOrd="0" presId="urn:microsoft.com/office/officeart/2005/8/layout/process2"/>
    <dgm:cxn modelId="{B4A332E1-22D6-40C6-BF45-53520F172143}" type="presOf" srcId="{FDFF01D2-F3CC-4D2C-A015-471198A0D6C7}" destId="{0DFF998B-AB70-42CB-B86E-F2EDC6F014F8}" srcOrd="0" destOrd="0" presId="urn:microsoft.com/office/officeart/2005/8/layout/process2"/>
    <dgm:cxn modelId="{7088608F-0AEE-4614-B72D-F23D6C671C78}" srcId="{EAE0BE0B-47C3-4CD6-817F-ECFB5232CEF3}" destId="{9C241770-5D57-447B-B2C6-700BC348595B}" srcOrd="3" destOrd="0" parTransId="{1AB0182E-7B5C-4E23-8170-0540F39E7BCD}" sibTransId="{F7237CAD-458A-4DEE-BE25-3568BFF65879}"/>
    <dgm:cxn modelId="{7953F032-F18D-49A4-9992-C23DCF8FAE66}" srcId="{EAE0BE0B-47C3-4CD6-817F-ECFB5232CEF3}" destId="{550E20B0-80A8-42F2-BFE2-A3961B05A02A}" srcOrd="1" destOrd="0" parTransId="{38585612-B19C-4E60-A5B1-689F14B19B22}" sibTransId="{F6B57F0F-2727-4614-A7FD-35FD6FCAF6E6}"/>
    <dgm:cxn modelId="{AEEB8EA6-ADD0-42B7-8786-638FF64CCE7B}" type="presOf" srcId="{9EFE1160-C5B7-455D-AE24-A575AB41076E}" destId="{D49DFB90-1383-44F2-BB66-0887BCA7C4E5}" srcOrd="0" destOrd="0" presId="urn:microsoft.com/office/officeart/2005/8/layout/process2"/>
    <dgm:cxn modelId="{1F142B0F-D4FF-49C9-A807-3F4B06A1F632}" srcId="{EAE0BE0B-47C3-4CD6-817F-ECFB5232CEF3}" destId="{A1FA66E9-6B47-43A9-A691-995B4B7D915F}" srcOrd="6" destOrd="0" parTransId="{EB158AC2-CBAE-4B26-A0B8-08B1BDA97F7A}" sibTransId="{78DC5BE3-9B5F-4CD7-B0EC-6566CDEFFE79}"/>
    <dgm:cxn modelId="{C3A4911C-18D8-475B-8BE6-16F49799291D}" type="presOf" srcId="{CC0749E6-31F7-4C9D-B494-AD9D61032896}" destId="{B22BB23F-E05B-4013-81BD-85F13AFDE6D1}" srcOrd="0" destOrd="0" presId="urn:microsoft.com/office/officeart/2005/8/layout/process2"/>
    <dgm:cxn modelId="{71B48048-64DD-4727-8792-38DF03B96AD5}" srcId="{EAE0BE0B-47C3-4CD6-817F-ECFB5232CEF3}" destId="{294402DA-D638-4BA1-B669-C7A658DFF56C}" srcOrd="8" destOrd="0" parTransId="{DB1A8D50-BB30-4E3B-9FBF-E1F6793CAAA2}" sibTransId="{490C5299-FC82-4673-B7B9-417344C0DCAA}"/>
    <dgm:cxn modelId="{24D31A63-F0E6-4F44-8839-F83786DA3B7F}" type="presOf" srcId="{294402DA-D638-4BA1-B669-C7A658DFF56C}" destId="{2E1F2D2C-88F0-4727-80FE-ADD5804EF2B7}" srcOrd="0" destOrd="0" presId="urn:microsoft.com/office/officeart/2005/8/layout/process2"/>
    <dgm:cxn modelId="{D0C7C9F3-A38D-4B6E-8486-A5D6959AD6E9}" type="presOf" srcId="{1AB6682E-C77A-48CC-818B-2A7EC3934804}" destId="{76E90E60-5B19-4029-8BE8-12C0FAC09B4F}" srcOrd="0" destOrd="0" presId="urn:microsoft.com/office/officeart/2005/8/layout/process2"/>
    <dgm:cxn modelId="{8AD14CCE-8074-4127-9639-8C8DE8B60C66}" type="presOf" srcId="{F7237CAD-458A-4DEE-BE25-3568BFF65879}" destId="{6C1BCA69-22CF-4F05-B914-357F6B8C02D5}" srcOrd="0" destOrd="0" presId="urn:microsoft.com/office/officeart/2005/8/layout/process2"/>
    <dgm:cxn modelId="{6D7E0BF6-47CF-4AA4-B579-6EFE71C639A5}" type="presOf" srcId="{F6B57F0F-2727-4614-A7FD-35FD6FCAF6E6}" destId="{219009EE-9B51-4162-9EBA-7B83AECF4795}" srcOrd="1" destOrd="0" presId="urn:microsoft.com/office/officeart/2005/8/layout/process2"/>
    <dgm:cxn modelId="{9E08DDA0-2757-4068-92ED-ABEB1E8CCD97}" type="presOf" srcId="{2AE408E0-1AF5-4F80-BFA2-F6C645A283D4}" destId="{5351E9FE-A558-447E-A302-DBACA0DF592D}" srcOrd="1" destOrd="0" presId="urn:microsoft.com/office/officeart/2005/8/layout/process2"/>
    <dgm:cxn modelId="{A91D6FD6-2F45-4F08-8525-9093AC955E92}" type="presOf" srcId="{65ADC171-D76B-4DA2-9796-3C9108575BCF}" destId="{4FD2053B-5A77-4D34-8C66-D50B8724D81E}" srcOrd="0" destOrd="0" presId="urn:microsoft.com/office/officeart/2005/8/layout/process2"/>
    <dgm:cxn modelId="{118EBEB7-8BBC-403C-8C68-91092098A309}" srcId="{EAE0BE0B-47C3-4CD6-817F-ECFB5232CEF3}" destId="{9EFE1160-C5B7-455D-AE24-A575AB41076E}" srcOrd="5" destOrd="0" parTransId="{67CC3331-AE8D-41C3-AF58-8DECD485B2D3}" sibTransId="{CC0749E6-31F7-4C9D-B494-AD9D61032896}"/>
    <dgm:cxn modelId="{7A421254-8C09-4786-92F4-2A5D748B8FE5}" srcId="{EAE0BE0B-47C3-4CD6-817F-ECFB5232CEF3}" destId="{65ADC171-D76B-4DA2-9796-3C9108575BCF}" srcOrd="2" destOrd="0" parTransId="{4F1B7BF3-C416-4B8E-9893-58884FAAAA3A}" sibTransId="{2AE408E0-1AF5-4F80-BFA2-F6C645A283D4}"/>
    <dgm:cxn modelId="{7306BCBA-27AA-41DF-AB59-B8DB8252CB12}" type="presOf" srcId="{2A49C2D7-12D0-4518-BC98-A3272820B530}" destId="{564A9C2A-4DC0-4B71-8BDC-7615D299EDCD}" srcOrd="0" destOrd="0" presId="urn:microsoft.com/office/officeart/2005/8/layout/process2"/>
    <dgm:cxn modelId="{08C5019E-3EA8-4CF4-BD52-392EE99AA68F}" type="presOf" srcId="{2CEC1776-9DE4-48EC-8B3A-CE30A34C08A8}" destId="{44B7898F-5A22-4319-8D85-0B72C2EF45F9}" srcOrd="0" destOrd="0" presId="urn:microsoft.com/office/officeart/2005/8/layout/process2"/>
    <dgm:cxn modelId="{A9A721FF-B9E5-4F04-8F78-D57BE264D518}" type="presOf" srcId="{F6B57F0F-2727-4614-A7FD-35FD6FCAF6E6}" destId="{6C27A5CC-5F13-4059-9AE7-C0A63DD7EC7E}" srcOrd="0" destOrd="0" presId="urn:microsoft.com/office/officeart/2005/8/layout/process2"/>
    <dgm:cxn modelId="{A5E192D4-46D8-4892-92E5-77056B595FA0}" type="presOf" srcId="{F7237CAD-458A-4DEE-BE25-3568BFF65879}" destId="{ADF04F16-ABFC-4DEA-9719-FE2EDEC087DE}" srcOrd="1" destOrd="0" presId="urn:microsoft.com/office/officeart/2005/8/layout/process2"/>
    <dgm:cxn modelId="{42F485D2-7FE9-42A1-B835-3E21CC0B218E}" type="presOf" srcId="{78DC5BE3-9B5F-4CD7-B0EC-6566CDEFFE79}" destId="{D1E38222-CE22-4A67-AEEE-B8A0996FDF5D}" srcOrd="1" destOrd="0" presId="urn:microsoft.com/office/officeart/2005/8/layout/process2"/>
    <dgm:cxn modelId="{27E15B59-BEE5-4CEF-9126-1E8E89CAE6E8}" type="presOf" srcId="{E5D2D304-F13F-4199-9163-2AD87DD91923}" destId="{85F2BDF6-F9F8-41DC-9874-6F84B6C7034A}" srcOrd="0" destOrd="0" presId="urn:microsoft.com/office/officeart/2005/8/layout/process2"/>
    <dgm:cxn modelId="{6F04F2A8-23BA-4DE7-A7DE-12FD8BA7440B}" type="presOf" srcId="{E5A0750E-9076-4558-8E66-C53A1107536F}" destId="{A84114DE-6569-47D6-AD13-3BDCDD5C3236}" srcOrd="0" destOrd="0" presId="urn:microsoft.com/office/officeart/2005/8/layout/process2"/>
    <dgm:cxn modelId="{98753A26-4F44-4949-AD1C-34B468587D4A}" type="presOf" srcId="{78DC5BE3-9B5F-4CD7-B0EC-6566CDEFFE79}" destId="{28AF62BE-D6B0-493F-B896-8629ECF24A49}" srcOrd="0" destOrd="0" presId="urn:microsoft.com/office/officeart/2005/8/layout/process2"/>
    <dgm:cxn modelId="{C192F1D7-709A-439E-95AD-ADD708DB292F}" type="presOf" srcId="{2CEC1776-9DE4-48EC-8B3A-CE30A34C08A8}" destId="{408A314B-8D14-452B-BB30-A6CDFBC7604D}" srcOrd="1" destOrd="0" presId="urn:microsoft.com/office/officeart/2005/8/layout/process2"/>
    <dgm:cxn modelId="{523A04D9-462D-4D5D-8ECB-610622AFDCC5}" srcId="{EAE0BE0B-47C3-4CD6-817F-ECFB5232CEF3}" destId="{2A49C2D7-12D0-4518-BC98-A3272820B530}" srcOrd="4" destOrd="0" parTransId="{F7CA40F8-C1DA-4CCC-997C-49389366A1F8}" sibTransId="{FDFF01D2-F3CC-4D2C-A015-471198A0D6C7}"/>
    <dgm:cxn modelId="{1411BFE4-69F0-4B4A-B02A-462E14DCB9D4}" type="presOf" srcId="{2AE408E0-1AF5-4F80-BFA2-F6C645A283D4}" destId="{F9790B67-A8A7-47D4-8E75-D889EA350148}" srcOrd="0" destOrd="0" presId="urn:microsoft.com/office/officeart/2005/8/layout/process2"/>
    <dgm:cxn modelId="{A8BDD26F-DC13-4882-A24E-B12804B7B94D}" type="presOf" srcId="{A1FA66E9-6B47-43A9-A691-995B4B7D915F}" destId="{CD5751FF-25F1-44FE-B9E8-824DB4F14981}" srcOrd="0" destOrd="0" presId="urn:microsoft.com/office/officeart/2005/8/layout/process2"/>
    <dgm:cxn modelId="{6AA510E3-E00F-4725-9802-46A1FFB8213E}" type="presParOf" srcId="{492AF956-F719-422D-9244-7729846A0ADF}" destId="{85F2BDF6-F9F8-41DC-9874-6F84B6C7034A}" srcOrd="0" destOrd="0" presId="urn:microsoft.com/office/officeart/2005/8/layout/process2"/>
    <dgm:cxn modelId="{165A23AB-1099-4BD4-A899-3D18E128E327}" type="presParOf" srcId="{492AF956-F719-422D-9244-7729846A0ADF}" destId="{44B7898F-5A22-4319-8D85-0B72C2EF45F9}" srcOrd="1" destOrd="0" presId="urn:microsoft.com/office/officeart/2005/8/layout/process2"/>
    <dgm:cxn modelId="{14DEFEB5-1E50-4D82-99E7-452006D61AE5}" type="presParOf" srcId="{44B7898F-5A22-4319-8D85-0B72C2EF45F9}" destId="{408A314B-8D14-452B-BB30-A6CDFBC7604D}" srcOrd="0" destOrd="0" presId="urn:microsoft.com/office/officeart/2005/8/layout/process2"/>
    <dgm:cxn modelId="{FA2C319E-9FCF-477B-B2FC-5164508FC573}" type="presParOf" srcId="{492AF956-F719-422D-9244-7729846A0ADF}" destId="{3D35B79B-418E-472B-B684-1ACC0A6CC011}" srcOrd="2" destOrd="0" presId="urn:microsoft.com/office/officeart/2005/8/layout/process2"/>
    <dgm:cxn modelId="{98DD31B1-A082-46DE-ACA0-013DE9AD0E3A}" type="presParOf" srcId="{492AF956-F719-422D-9244-7729846A0ADF}" destId="{6C27A5CC-5F13-4059-9AE7-C0A63DD7EC7E}" srcOrd="3" destOrd="0" presId="urn:microsoft.com/office/officeart/2005/8/layout/process2"/>
    <dgm:cxn modelId="{EA64EC53-9BAB-4EFF-BE12-A5D7F5877727}" type="presParOf" srcId="{6C27A5CC-5F13-4059-9AE7-C0A63DD7EC7E}" destId="{219009EE-9B51-4162-9EBA-7B83AECF4795}" srcOrd="0" destOrd="0" presId="urn:microsoft.com/office/officeart/2005/8/layout/process2"/>
    <dgm:cxn modelId="{1CD3EE83-FD15-4D01-8169-15DA18FADF59}" type="presParOf" srcId="{492AF956-F719-422D-9244-7729846A0ADF}" destId="{4FD2053B-5A77-4D34-8C66-D50B8724D81E}" srcOrd="4" destOrd="0" presId="urn:microsoft.com/office/officeart/2005/8/layout/process2"/>
    <dgm:cxn modelId="{96C73491-FBEF-4D45-AB38-441859FD7948}" type="presParOf" srcId="{492AF956-F719-422D-9244-7729846A0ADF}" destId="{F9790B67-A8A7-47D4-8E75-D889EA350148}" srcOrd="5" destOrd="0" presId="urn:microsoft.com/office/officeart/2005/8/layout/process2"/>
    <dgm:cxn modelId="{E95EBF5C-440F-4721-9AB6-0B6A90B9B5DD}" type="presParOf" srcId="{F9790B67-A8A7-47D4-8E75-D889EA350148}" destId="{5351E9FE-A558-447E-A302-DBACA0DF592D}" srcOrd="0" destOrd="0" presId="urn:microsoft.com/office/officeart/2005/8/layout/process2"/>
    <dgm:cxn modelId="{37670319-6E10-423F-913D-E183CE500734}" type="presParOf" srcId="{492AF956-F719-422D-9244-7729846A0ADF}" destId="{7EF63230-6818-417B-9423-2B2909FB868A}" srcOrd="6" destOrd="0" presId="urn:microsoft.com/office/officeart/2005/8/layout/process2"/>
    <dgm:cxn modelId="{2B4ABE3E-E3C4-41FE-A20F-73CD72CC6C39}" type="presParOf" srcId="{492AF956-F719-422D-9244-7729846A0ADF}" destId="{6C1BCA69-22CF-4F05-B914-357F6B8C02D5}" srcOrd="7" destOrd="0" presId="urn:microsoft.com/office/officeart/2005/8/layout/process2"/>
    <dgm:cxn modelId="{35E3F25E-5621-4F72-A9B6-C532E5B897D2}" type="presParOf" srcId="{6C1BCA69-22CF-4F05-B914-357F6B8C02D5}" destId="{ADF04F16-ABFC-4DEA-9719-FE2EDEC087DE}" srcOrd="0" destOrd="0" presId="urn:microsoft.com/office/officeart/2005/8/layout/process2"/>
    <dgm:cxn modelId="{1C9FAA9A-B1FE-42DE-A014-3F2A46F53C8E}" type="presParOf" srcId="{492AF956-F719-422D-9244-7729846A0ADF}" destId="{564A9C2A-4DC0-4B71-8BDC-7615D299EDCD}" srcOrd="8" destOrd="0" presId="urn:microsoft.com/office/officeart/2005/8/layout/process2"/>
    <dgm:cxn modelId="{0A2ADF0B-C4C0-4F0E-B69F-326CD91B3075}" type="presParOf" srcId="{492AF956-F719-422D-9244-7729846A0ADF}" destId="{0DFF998B-AB70-42CB-B86E-F2EDC6F014F8}" srcOrd="9" destOrd="0" presId="urn:microsoft.com/office/officeart/2005/8/layout/process2"/>
    <dgm:cxn modelId="{B3099A15-48C3-4E78-93D4-9746846D5343}" type="presParOf" srcId="{0DFF998B-AB70-42CB-B86E-F2EDC6F014F8}" destId="{98E1D376-F99A-44C4-8AC9-E145DB47BC54}" srcOrd="0" destOrd="0" presId="urn:microsoft.com/office/officeart/2005/8/layout/process2"/>
    <dgm:cxn modelId="{EDD54DB3-F3CD-4590-A73B-C7B80064A158}" type="presParOf" srcId="{492AF956-F719-422D-9244-7729846A0ADF}" destId="{D49DFB90-1383-44F2-BB66-0887BCA7C4E5}" srcOrd="10" destOrd="0" presId="urn:microsoft.com/office/officeart/2005/8/layout/process2"/>
    <dgm:cxn modelId="{2D69DD5E-A163-49FA-B248-496A8566CB61}" type="presParOf" srcId="{492AF956-F719-422D-9244-7729846A0ADF}" destId="{B22BB23F-E05B-4013-81BD-85F13AFDE6D1}" srcOrd="11" destOrd="0" presId="urn:microsoft.com/office/officeart/2005/8/layout/process2"/>
    <dgm:cxn modelId="{04054009-4509-4A5B-95A3-4798D3FA67F4}" type="presParOf" srcId="{B22BB23F-E05B-4013-81BD-85F13AFDE6D1}" destId="{3C47B04F-CBBD-4ADD-A6BE-15EEB39DBB7F}" srcOrd="0" destOrd="0" presId="urn:microsoft.com/office/officeart/2005/8/layout/process2"/>
    <dgm:cxn modelId="{62E333A8-EE92-4722-ABF2-01278304EF61}" type="presParOf" srcId="{492AF956-F719-422D-9244-7729846A0ADF}" destId="{CD5751FF-25F1-44FE-B9E8-824DB4F14981}" srcOrd="12" destOrd="0" presId="urn:microsoft.com/office/officeart/2005/8/layout/process2"/>
    <dgm:cxn modelId="{858CB6CD-4CF4-4B62-8FAE-4D0D049F8846}" type="presParOf" srcId="{492AF956-F719-422D-9244-7729846A0ADF}" destId="{28AF62BE-D6B0-493F-B896-8629ECF24A49}" srcOrd="13" destOrd="0" presId="urn:microsoft.com/office/officeart/2005/8/layout/process2"/>
    <dgm:cxn modelId="{0B01742B-80CE-4E41-8435-3AD17DD39CE0}" type="presParOf" srcId="{28AF62BE-D6B0-493F-B896-8629ECF24A49}" destId="{D1E38222-CE22-4A67-AEEE-B8A0996FDF5D}" srcOrd="0" destOrd="0" presId="urn:microsoft.com/office/officeart/2005/8/layout/process2"/>
    <dgm:cxn modelId="{5E575B19-C1B4-4C7F-AB46-DF4EF99297FC}" type="presParOf" srcId="{492AF956-F719-422D-9244-7729846A0ADF}" destId="{76E90E60-5B19-4029-8BE8-12C0FAC09B4F}" srcOrd="14" destOrd="0" presId="urn:microsoft.com/office/officeart/2005/8/layout/process2"/>
    <dgm:cxn modelId="{90C6F544-0B39-4F37-8638-1477DF777722}" type="presParOf" srcId="{492AF956-F719-422D-9244-7729846A0ADF}" destId="{A84114DE-6569-47D6-AD13-3BDCDD5C3236}" srcOrd="15" destOrd="0" presId="urn:microsoft.com/office/officeart/2005/8/layout/process2"/>
    <dgm:cxn modelId="{3962643F-FE06-4B83-AEDD-6C8FCD739790}" type="presParOf" srcId="{A84114DE-6569-47D6-AD13-3BDCDD5C3236}" destId="{EB198668-65DF-4501-B2F3-20013C293CC4}" srcOrd="0" destOrd="0" presId="urn:microsoft.com/office/officeart/2005/8/layout/process2"/>
    <dgm:cxn modelId="{85AAA6AF-59D6-40DC-B709-7C71B661F0ED}" type="presParOf" srcId="{492AF956-F719-422D-9244-7729846A0ADF}" destId="{2E1F2D2C-88F0-4727-80FE-ADD5804EF2B7}" srcOrd="16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B2DAC8-6266-4166-9F9D-2D53F15AEE08}">
      <dsp:nvSpPr>
        <dsp:cNvPr id="0" name=""/>
        <dsp:cNvSpPr/>
      </dsp:nvSpPr>
      <dsp:spPr>
        <a:xfrm>
          <a:off x="172967" y="0"/>
          <a:ext cx="6937216" cy="433576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6FD433-4715-40FC-BC79-841E247F08C8}">
      <dsp:nvSpPr>
        <dsp:cNvPr id="0" name=""/>
        <dsp:cNvSpPr/>
      </dsp:nvSpPr>
      <dsp:spPr>
        <a:xfrm>
          <a:off x="1053994" y="2992541"/>
          <a:ext cx="180367" cy="180367"/>
        </a:xfrm>
        <a:prstGeom prst="ellipse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</dsp:sp>
    <dsp:sp modelId="{A7D9331B-9E7C-4EAC-831D-C0CD44D02E25}">
      <dsp:nvSpPr>
        <dsp:cNvPr id="0" name=""/>
        <dsp:cNvSpPr/>
      </dsp:nvSpPr>
      <dsp:spPr>
        <a:xfrm>
          <a:off x="1144178" y="3082725"/>
          <a:ext cx="1616371" cy="12530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573" tIns="0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Accompagnement</a:t>
          </a:r>
          <a:r>
            <a:rPr lang="fr-FR" sz="13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 </a:t>
          </a:r>
          <a:r>
            <a:rPr lang="fr-FR" sz="13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personnalisé</a:t>
          </a:r>
          <a:endParaRPr lang="fr-FR" sz="1300" kern="12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sp:txBody>
      <dsp:txXfrm>
        <a:off x="1144178" y="3082725"/>
        <a:ext cx="1616371" cy="1253034"/>
      </dsp:txXfrm>
    </dsp:sp>
    <dsp:sp modelId="{E0B83EAD-A5DA-47BD-AAE2-07A5FB362E49}">
      <dsp:nvSpPr>
        <dsp:cNvPr id="0" name=""/>
        <dsp:cNvSpPr/>
      </dsp:nvSpPr>
      <dsp:spPr>
        <a:xfrm>
          <a:off x="2646085" y="1814081"/>
          <a:ext cx="326049" cy="326049"/>
        </a:xfrm>
        <a:prstGeom prst="ellipse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</dsp:sp>
    <dsp:sp modelId="{3E0D44C1-6026-4C45-9CFD-CF6EF7AF1B61}">
      <dsp:nvSpPr>
        <dsp:cNvPr id="0" name=""/>
        <dsp:cNvSpPr/>
      </dsp:nvSpPr>
      <dsp:spPr>
        <a:xfrm>
          <a:off x="2788048" y="2257963"/>
          <a:ext cx="1664931" cy="6588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2767" tIns="0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Développement d’un potentiel et de savoir-faire</a:t>
          </a:r>
          <a:endParaRPr lang="fr-FR" sz="1300" kern="12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sp:txBody>
      <dsp:txXfrm>
        <a:off x="2788048" y="2257963"/>
        <a:ext cx="1664931" cy="658889"/>
      </dsp:txXfrm>
    </dsp:sp>
    <dsp:sp modelId="{227837E5-7EC8-42F0-A12D-71B2108DD41B}">
      <dsp:nvSpPr>
        <dsp:cNvPr id="0" name=""/>
        <dsp:cNvSpPr/>
      </dsp:nvSpPr>
      <dsp:spPr>
        <a:xfrm>
          <a:off x="4560757" y="1096947"/>
          <a:ext cx="450919" cy="450919"/>
        </a:xfrm>
        <a:prstGeom prst="ellipse">
          <a:avLst/>
        </a:prstGeom>
        <a:solidFill>
          <a:schemeClr val="accent3"/>
        </a:solidFill>
        <a:ln w="25400" cap="flat" cmpd="sng" algn="ctr">
          <a:solidFill>
            <a:schemeClr val="accent3">
              <a:shade val="50000"/>
            </a:schemeClr>
          </a:solidFill>
          <a:prstDash val="solid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</dsp:sp>
    <dsp:sp modelId="{BEFD3785-50BC-4655-AFAC-3FE16FC42006}">
      <dsp:nvSpPr>
        <dsp:cNvPr id="0" name=""/>
        <dsp:cNvSpPr/>
      </dsp:nvSpPr>
      <dsp:spPr>
        <a:xfrm rot="10800000" flipV="1">
          <a:off x="4566229" y="1617820"/>
          <a:ext cx="1807183" cy="4225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933" tIns="0" rIns="0" bIns="0" numCol="1" spcCol="1270" anchor="t" anchorCtr="0">
          <a:noAutofit/>
        </a:bodyPr>
        <a:lstStyle/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Résultats concrets et mesurables</a:t>
          </a:r>
          <a:endParaRPr lang="fr-FR" sz="1300" kern="12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sp:txBody>
      <dsp:txXfrm rot="-10800000">
        <a:off x="4566229" y="1617820"/>
        <a:ext cx="1807183" cy="42256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33A584-987D-4BA9-980E-49FC27EAA08F}">
      <dsp:nvSpPr>
        <dsp:cNvPr id="0" name=""/>
        <dsp:cNvSpPr/>
      </dsp:nvSpPr>
      <dsp:spPr>
        <a:xfrm>
          <a:off x="270317" y="0"/>
          <a:ext cx="6714458" cy="3960440"/>
        </a:xfrm>
        <a:prstGeom prst="rightArrow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D9467F8-3C65-44A7-81AD-035DEA90ADE5}">
      <dsp:nvSpPr>
        <dsp:cNvPr id="0" name=""/>
        <dsp:cNvSpPr/>
      </dsp:nvSpPr>
      <dsp:spPr>
        <a:xfrm>
          <a:off x="560822" y="1207847"/>
          <a:ext cx="1498509" cy="1544745"/>
        </a:xfrm>
        <a:prstGeom prst="roundRect">
          <a:avLst/>
        </a:prstGeom>
        <a:solidFill>
          <a:schemeClr val="bg1">
            <a:lumMod val="95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L’entretien préliminaire avec  le collaborateur / La </a:t>
          </a:r>
          <a:r>
            <a:rPr lang="fr-FR" sz="1400" kern="1200" dirty="0" err="1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déconfusion</a:t>
          </a:r>
          <a:endParaRPr lang="fr-FR" sz="1400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633973" y="1280998"/>
        <a:ext cx="1352207" cy="1398443"/>
      </dsp:txXfrm>
    </dsp:sp>
    <dsp:sp modelId="{9C2D38EE-197B-4DFD-852B-3FA086B46C75}">
      <dsp:nvSpPr>
        <dsp:cNvPr id="0" name=""/>
        <dsp:cNvSpPr/>
      </dsp:nvSpPr>
      <dsp:spPr>
        <a:xfrm>
          <a:off x="2194730" y="1212425"/>
          <a:ext cx="1411840" cy="1535589"/>
        </a:xfrm>
        <a:prstGeom prst="roundRect">
          <a:avLst/>
        </a:prstGeom>
        <a:solidFill>
          <a:schemeClr val="bg1">
            <a:lumMod val="95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La définition des objectifs</a:t>
          </a:r>
          <a:endParaRPr lang="fr-FR" sz="1400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2263650" y="1281345"/>
        <a:ext cx="1274000" cy="1397749"/>
      </dsp:txXfrm>
    </dsp:sp>
    <dsp:sp modelId="{38C70712-5EE5-4183-BF7B-302DED3626FA}">
      <dsp:nvSpPr>
        <dsp:cNvPr id="0" name=""/>
        <dsp:cNvSpPr/>
      </dsp:nvSpPr>
      <dsp:spPr>
        <a:xfrm>
          <a:off x="3741968" y="1212425"/>
          <a:ext cx="1250597" cy="1535589"/>
        </a:xfrm>
        <a:prstGeom prst="roundRect">
          <a:avLst/>
        </a:prstGeom>
        <a:solidFill>
          <a:schemeClr val="bg1">
            <a:lumMod val="95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Mise en place du plan d’action</a:t>
          </a:r>
          <a:endParaRPr lang="fr-FR" sz="1400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3803017" y="1273474"/>
        <a:ext cx="1128499" cy="1413491"/>
      </dsp:txXfrm>
    </dsp:sp>
    <dsp:sp modelId="{79292EBB-9971-43E0-957D-EA4A8C17CF26}">
      <dsp:nvSpPr>
        <dsp:cNvPr id="0" name=""/>
        <dsp:cNvSpPr/>
      </dsp:nvSpPr>
      <dsp:spPr>
        <a:xfrm>
          <a:off x="5058972" y="1207847"/>
          <a:ext cx="1295989" cy="1554029"/>
        </a:xfrm>
        <a:prstGeom prst="roundRect">
          <a:avLst/>
        </a:prstGeom>
        <a:solidFill>
          <a:schemeClr val="bg1">
            <a:lumMod val="95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L’élaboration du bilan</a:t>
          </a:r>
          <a:endParaRPr lang="fr-FR" sz="1400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5122237" y="1271112"/>
        <a:ext cx="1169459" cy="1427499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40B242-A591-4B00-AEFE-504DA5848670}">
      <dsp:nvSpPr>
        <dsp:cNvPr id="0" name=""/>
        <dsp:cNvSpPr/>
      </dsp:nvSpPr>
      <dsp:spPr>
        <a:xfrm>
          <a:off x="2365238" y="0"/>
          <a:ext cx="1182619" cy="996865"/>
        </a:xfrm>
        <a:prstGeom prst="trapezoid">
          <a:avLst>
            <a:gd name="adj" fmla="val 59317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L’écoute</a:t>
          </a:r>
          <a:endParaRPr lang="fr-FR" sz="16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2365238" y="0"/>
        <a:ext cx="1182619" cy="996865"/>
      </dsp:txXfrm>
    </dsp:sp>
    <dsp:sp modelId="{A8A6FEEC-D6D1-479F-8335-32880D8C759E}">
      <dsp:nvSpPr>
        <dsp:cNvPr id="0" name=""/>
        <dsp:cNvSpPr/>
      </dsp:nvSpPr>
      <dsp:spPr>
        <a:xfrm>
          <a:off x="1773929" y="996865"/>
          <a:ext cx="2365238" cy="996865"/>
        </a:xfrm>
        <a:prstGeom prst="trapezoid">
          <a:avLst>
            <a:gd name="adj" fmla="val 59317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Attributs psychologiques</a:t>
          </a:r>
          <a:endParaRPr lang="fr-FR" sz="17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2187845" y="996865"/>
        <a:ext cx="1537405" cy="996865"/>
      </dsp:txXfrm>
    </dsp:sp>
    <dsp:sp modelId="{CF840211-6929-4C28-98B8-7E5D31BF6375}">
      <dsp:nvSpPr>
        <dsp:cNvPr id="0" name=""/>
        <dsp:cNvSpPr/>
      </dsp:nvSpPr>
      <dsp:spPr>
        <a:xfrm>
          <a:off x="1182619" y="1993731"/>
          <a:ext cx="3547858" cy="996865"/>
        </a:xfrm>
        <a:prstGeom prst="trapezoid">
          <a:avLst>
            <a:gd name="adj" fmla="val 59317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Valeurs ajoutées intellectuelles</a:t>
          </a:r>
          <a:endParaRPr lang="fr-FR" sz="17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1803494" y="1993731"/>
        <a:ext cx="2306107" cy="996865"/>
      </dsp:txXfrm>
    </dsp:sp>
    <dsp:sp modelId="{7F7A0E67-32D4-4D4B-A8A2-24D9FA10A3B7}">
      <dsp:nvSpPr>
        <dsp:cNvPr id="0" name=""/>
        <dsp:cNvSpPr/>
      </dsp:nvSpPr>
      <dsp:spPr>
        <a:xfrm>
          <a:off x="591309" y="2990596"/>
          <a:ext cx="4730477" cy="996865"/>
        </a:xfrm>
        <a:prstGeom prst="trapezoid">
          <a:avLst>
            <a:gd name="adj" fmla="val 59317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Capacité du manager à intervenir sur son collaborateur</a:t>
          </a:r>
          <a:endParaRPr lang="fr-FR" sz="17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1419143" y="2990596"/>
        <a:ext cx="3074810" cy="996865"/>
      </dsp:txXfrm>
    </dsp:sp>
    <dsp:sp modelId="{23C3FC62-690E-4202-9329-2BCC6CE8F325}">
      <dsp:nvSpPr>
        <dsp:cNvPr id="0" name=""/>
        <dsp:cNvSpPr/>
      </dsp:nvSpPr>
      <dsp:spPr>
        <a:xfrm>
          <a:off x="0" y="3987462"/>
          <a:ext cx="5913097" cy="996865"/>
        </a:xfrm>
        <a:prstGeom prst="trapezoid">
          <a:avLst>
            <a:gd name="adj" fmla="val 59317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7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Qualités professionnelles </a:t>
          </a:r>
          <a:endParaRPr lang="fr-FR" sz="17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1034791" y="3987462"/>
        <a:ext cx="3843513" cy="99686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62B2B0-0747-4933-8FBB-E8FCF5AA43A8}">
      <dsp:nvSpPr>
        <dsp:cNvPr id="0" name=""/>
        <dsp:cNvSpPr/>
      </dsp:nvSpPr>
      <dsp:spPr>
        <a:xfrm>
          <a:off x="2835954" y="-134237"/>
          <a:ext cx="1867632" cy="816752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Délimiter clairement le cadre</a:t>
          </a:r>
          <a:endParaRPr lang="fr-FR" sz="14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2875825" y="-94366"/>
        <a:ext cx="1787890" cy="737010"/>
      </dsp:txXfrm>
    </dsp:sp>
    <dsp:sp modelId="{A01AE0AA-F672-4A4A-BA65-909035A25D47}">
      <dsp:nvSpPr>
        <dsp:cNvPr id="0" name=""/>
        <dsp:cNvSpPr/>
      </dsp:nvSpPr>
      <dsp:spPr>
        <a:xfrm>
          <a:off x="3540043" y="-3113921"/>
          <a:ext cx="3780061" cy="3780061"/>
        </a:xfrm>
        <a:custGeom>
          <a:avLst/>
          <a:gdLst/>
          <a:ahLst/>
          <a:cxnLst/>
          <a:rect l="0" t="0" r="0" b="0"/>
          <a:pathLst>
            <a:path>
              <a:moveTo>
                <a:pt x="1161412" y="3633972"/>
              </a:moveTo>
              <a:arcTo wR="1890030" hR="1890030" stAng="6760510" swAng="4118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251DA1-64BD-4AE6-91FE-59EE17A20679}">
      <dsp:nvSpPr>
        <dsp:cNvPr id="0" name=""/>
        <dsp:cNvSpPr/>
      </dsp:nvSpPr>
      <dsp:spPr>
        <a:xfrm>
          <a:off x="4172407" y="419339"/>
          <a:ext cx="1867632" cy="816752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Conjuguer non-jugement, authenticité et confiance</a:t>
          </a:r>
          <a:endParaRPr lang="fr-FR" sz="14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4212278" y="459210"/>
        <a:ext cx="1787890" cy="737010"/>
      </dsp:txXfrm>
    </dsp:sp>
    <dsp:sp modelId="{0503D209-15D6-45DB-BF3C-F683BB9BC413}">
      <dsp:nvSpPr>
        <dsp:cNvPr id="0" name=""/>
        <dsp:cNvSpPr/>
      </dsp:nvSpPr>
      <dsp:spPr>
        <a:xfrm>
          <a:off x="1879739" y="274138"/>
          <a:ext cx="3780061" cy="3780061"/>
        </a:xfrm>
        <a:custGeom>
          <a:avLst/>
          <a:gdLst/>
          <a:ahLst/>
          <a:cxnLst/>
          <a:rect l="0" t="0" r="0" b="0"/>
          <a:pathLst>
            <a:path>
              <a:moveTo>
                <a:pt x="3539234" y="966805"/>
              </a:moveTo>
              <a:arcTo wR="1890030" hR="1890030" stAng="19845591" swAng="99559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A1AFDE-0D43-42BC-8F79-ED8350411E91}">
      <dsp:nvSpPr>
        <dsp:cNvPr id="0" name=""/>
        <dsp:cNvSpPr/>
      </dsp:nvSpPr>
      <dsp:spPr>
        <a:xfrm>
          <a:off x="4725984" y="1755793"/>
          <a:ext cx="1867632" cy="816752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Développement de la « congruence »</a:t>
          </a:r>
          <a:endParaRPr lang="fr-FR" sz="14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4765855" y="1795664"/>
        <a:ext cx="1787890" cy="737010"/>
      </dsp:txXfrm>
    </dsp:sp>
    <dsp:sp modelId="{CF378C20-ACB2-4FEA-8616-0CC75E8DFD24}">
      <dsp:nvSpPr>
        <dsp:cNvPr id="0" name=""/>
        <dsp:cNvSpPr/>
      </dsp:nvSpPr>
      <dsp:spPr>
        <a:xfrm>
          <a:off x="1879739" y="274138"/>
          <a:ext cx="3780061" cy="3780061"/>
        </a:xfrm>
        <a:custGeom>
          <a:avLst/>
          <a:gdLst/>
          <a:ahLst/>
          <a:cxnLst/>
          <a:rect l="0" t="0" r="0" b="0"/>
          <a:pathLst>
            <a:path>
              <a:moveTo>
                <a:pt x="3734205" y="2303838"/>
              </a:moveTo>
              <a:arcTo wR="1890030" hR="1890030" stAng="758815" swAng="99559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EE6E1F-366B-4DBB-99A1-8983A31A794F}">
      <dsp:nvSpPr>
        <dsp:cNvPr id="0" name=""/>
        <dsp:cNvSpPr/>
      </dsp:nvSpPr>
      <dsp:spPr>
        <a:xfrm>
          <a:off x="4172407" y="3092246"/>
          <a:ext cx="1867632" cy="816752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Toujours croire en l’autre</a:t>
          </a:r>
          <a:endParaRPr lang="fr-FR" sz="14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4212278" y="3132117"/>
        <a:ext cx="1787890" cy="737010"/>
      </dsp:txXfrm>
    </dsp:sp>
    <dsp:sp modelId="{D7C0855D-1C61-446F-9A41-5BE225A20DF1}">
      <dsp:nvSpPr>
        <dsp:cNvPr id="0" name=""/>
        <dsp:cNvSpPr/>
      </dsp:nvSpPr>
      <dsp:spPr>
        <a:xfrm>
          <a:off x="3540043" y="3662198"/>
          <a:ext cx="3780061" cy="3780061"/>
        </a:xfrm>
        <a:custGeom>
          <a:avLst/>
          <a:gdLst/>
          <a:ahLst/>
          <a:cxnLst/>
          <a:rect l="0" t="0" r="0" b="0"/>
          <a:pathLst>
            <a:path>
              <a:moveTo>
                <a:pt x="958222" y="245661"/>
              </a:moveTo>
              <a:arcTo wR="1890030" hR="1890030" stAng="14427674" swAng="4118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B697EE-5965-4C7C-8FB9-A311B4FB31BE}">
      <dsp:nvSpPr>
        <dsp:cNvPr id="0" name=""/>
        <dsp:cNvSpPr/>
      </dsp:nvSpPr>
      <dsp:spPr>
        <a:xfrm>
          <a:off x="2835954" y="3645823"/>
          <a:ext cx="1867632" cy="816752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Métacommuniquer</a:t>
          </a:r>
          <a:endParaRPr lang="fr-FR" sz="14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2875825" y="3685694"/>
        <a:ext cx="1787890" cy="737010"/>
      </dsp:txXfrm>
    </dsp:sp>
    <dsp:sp modelId="{2F381078-0B97-4D7D-BBDF-1101CD6C10E3}">
      <dsp:nvSpPr>
        <dsp:cNvPr id="0" name=""/>
        <dsp:cNvSpPr/>
      </dsp:nvSpPr>
      <dsp:spPr>
        <a:xfrm>
          <a:off x="219435" y="3662198"/>
          <a:ext cx="3780061" cy="3780061"/>
        </a:xfrm>
        <a:custGeom>
          <a:avLst/>
          <a:gdLst/>
          <a:ahLst/>
          <a:cxnLst/>
          <a:rect l="0" t="0" r="0" b="0"/>
          <a:pathLst>
            <a:path>
              <a:moveTo>
                <a:pt x="2618649" y="146089"/>
              </a:moveTo>
              <a:arcTo wR="1890030" hR="1890030" stAng="17560510" swAng="4118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33A021-E04C-47C8-838C-EF93DCF6032C}">
      <dsp:nvSpPr>
        <dsp:cNvPr id="0" name=""/>
        <dsp:cNvSpPr/>
      </dsp:nvSpPr>
      <dsp:spPr>
        <a:xfrm>
          <a:off x="1499500" y="3092246"/>
          <a:ext cx="1867632" cy="816752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Conjuguer pouvoir du manager et la neutralité du coach</a:t>
          </a:r>
          <a:endParaRPr lang="fr-FR" sz="14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1539371" y="3132117"/>
        <a:ext cx="1787890" cy="737010"/>
      </dsp:txXfrm>
    </dsp:sp>
    <dsp:sp modelId="{6328905C-0D8D-4187-B1F0-12E92D9EFD9A}">
      <dsp:nvSpPr>
        <dsp:cNvPr id="0" name=""/>
        <dsp:cNvSpPr/>
      </dsp:nvSpPr>
      <dsp:spPr>
        <a:xfrm>
          <a:off x="1879739" y="274138"/>
          <a:ext cx="3780061" cy="3780061"/>
        </a:xfrm>
        <a:custGeom>
          <a:avLst/>
          <a:gdLst/>
          <a:ahLst/>
          <a:cxnLst/>
          <a:rect l="0" t="0" r="0" b="0"/>
          <a:pathLst>
            <a:path>
              <a:moveTo>
                <a:pt x="240827" y="2813256"/>
              </a:moveTo>
              <a:arcTo wR="1890030" hR="1890030" stAng="9045591" swAng="99559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826FD3-70F9-4076-9874-F7B6F42D8A74}">
      <dsp:nvSpPr>
        <dsp:cNvPr id="0" name=""/>
        <dsp:cNvSpPr/>
      </dsp:nvSpPr>
      <dsp:spPr>
        <a:xfrm>
          <a:off x="945923" y="1755793"/>
          <a:ext cx="1867632" cy="816752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Ne pas se projeter dans la situation du collaborateur coaché</a:t>
          </a:r>
          <a:endParaRPr lang="fr-FR" sz="14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985794" y="1795664"/>
        <a:ext cx="1787890" cy="737010"/>
      </dsp:txXfrm>
    </dsp:sp>
    <dsp:sp modelId="{6915A387-FB67-47FF-AA9D-369A6C754C8B}">
      <dsp:nvSpPr>
        <dsp:cNvPr id="0" name=""/>
        <dsp:cNvSpPr/>
      </dsp:nvSpPr>
      <dsp:spPr>
        <a:xfrm>
          <a:off x="1879739" y="274138"/>
          <a:ext cx="3780061" cy="3780061"/>
        </a:xfrm>
        <a:custGeom>
          <a:avLst/>
          <a:gdLst/>
          <a:ahLst/>
          <a:cxnLst/>
          <a:rect l="0" t="0" r="0" b="0"/>
          <a:pathLst>
            <a:path>
              <a:moveTo>
                <a:pt x="45856" y="1476222"/>
              </a:moveTo>
              <a:arcTo wR="1890030" hR="1890030" stAng="11558815" swAng="99559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243023-35AA-4930-BFBF-673DE24875C8}">
      <dsp:nvSpPr>
        <dsp:cNvPr id="0" name=""/>
        <dsp:cNvSpPr/>
      </dsp:nvSpPr>
      <dsp:spPr>
        <a:xfrm>
          <a:off x="1499500" y="419339"/>
          <a:ext cx="1867632" cy="816752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400" b="1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rPr>
            <a:t>Utiliser des métaphores porteuses de sens</a:t>
          </a:r>
          <a:endParaRPr lang="fr-FR" sz="1400" b="1" kern="1200" dirty="0">
            <a:solidFill>
              <a:schemeClr val="accent1">
                <a:lumMod val="50000"/>
              </a:schemeClr>
            </a:solidFill>
            <a:latin typeface="Gill Sans" panose="020B0604020202020204"/>
          </a:endParaRPr>
        </a:p>
      </dsp:txBody>
      <dsp:txXfrm>
        <a:off x="1539371" y="459210"/>
        <a:ext cx="1787890" cy="737010"/>
      </dsp:txXfrm>
    </dsp:sp>
    <dsp:sp modelId="{AA9EF83E-4900-42A0-A71C-B3135CBB89D4}">
      <dsp:nvSpPr>
        <dsp:cNvPr id="0" name=""/>
        <dsp:cNvSpPr/>
      </dsp:nvSpPr>
      <dsp:spPr>
        <a:xfrm>
          <a:off x="219435" y="-3113921"/>
          <a:ext cx="3780061" cy="3780061"/>
        </a:xfrm>
        <a:custGeom>
          <a:avLst/>
          <a:gdLst/>
          <a:ahLst/>
          <a:cxnLst/>
          <a:rect l="0" t="0" r="0" b="0"/>
          <a:pathLst>
            <a:path>
              <a:moveTo>
                <a:pt x="2821839" y="3534399"/>
              </a:moveTo>
              <a:arcTo wR="1890030" hR="1890030" stAng="3627674" swAng="4118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Définition du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Types de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Etapes du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Savoir-être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Savoir-faire</a:t>
          </a:r>
          <a:endParaRPr lang="fr-FR" sz="950" kern="1200" dirty="0">
            <a:solidFill>
              <a:schemeClr val="bg1"/>
            </a:solidFill>
            <a:latin typeface="Gill Sans" panose="020B0604020202020204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2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: Risques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du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3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: Quand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coacher ?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3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: Méthodes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de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Cas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B7ED88-B1B1-41B2-B074-1F1416F7317C}">
      <dsp:nvSpPr>
        <dsp:cNvPr id="0" name=""/>
        <dsp:cNvSpPr/>
      </dsp:nvSpPr>
      <dsp:spPr>
        <a:xfrm>
          <a:off x="724055" y="136254"/>
          <a:ext cx="5756695" cy="1430791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" panose="020B0604020202020204"/>
            </a:rPr>
            <a:t>Les risques pour le collaborateur coaché</a:t>
          </a:r>
          <a:endParaRPr lang="fr-FR" sz="24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Gill Sans" panose="020B0604020202020204"/>
          </a:endParaRPr>
        </a:p>
      </dsp:txBody>
      <dsp:txXfrm>
        <a:off x="793900" y="206099"/>
        <a:ext cx="5617005" cy="1291101"/>
      </dsp:txXfrm>
    </dsp:sp>
    <dsp:sp modelId="{AE7437C7-00D7-4EAA-9B3D-CE0378709AF4}">
      <dsp:nvSpPr>
        <dsp:cNvPr id="0" name=""/>
        <dsp:cNvSpPr/>
      </dsp:nvSpPr>
      <dsp:spPr>
        <a:xfrm rot="8449651">
          <a:off x="1862412" y="1812258"/>
          <a:ext cx="680169" cy="52270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kern="1200" dirty="0">
            <a:solidFill>
              <a:schemeClr val="tx1"/>
            </a:solidFill>
            <a:latin typeface="Gill Sans" panose="020B0604020202020204"/>
          </a:endParaRPr>
        </a:p>
      </dsp:txBody>
      <dsp:txXfrm rot="10800000">
        <a:off x="2001602" y="1867274"/>
        <a:ext cx="523357" cy="313624"/>
      </dsp:txXfrm>
    </dsp:sp>
    <dsp:sp modelId="{99754E3D-DB82-453B-A528-36CF5E5F51C9}">
      <dsp:nvSpPr>
        <dsp:cNvPr id="0" name=""/>
        <dsp:cNvSpPr/>
      </dsp:nvSpPr>
      <dsp:spPr>
        <a:xfrm>
          <a:off x="0" y="2118740"/>
          <a:ext cx="2088604" cy="1634401"/>
        </a:xfrm>
        <a:prstGeom prst="ellipse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0" kern="1200" dirty="0" smtClean="0">
              <a:solidFill>
                <a:schemeClr val="tx1"/>
              </a:solidFill>
              <a:latin typeface="Gill Sans" panose="020B0604020202020204"/>
            </a:rPr>
            <a:t>La dépendance</a:t>
          </a:r>
          <a:endParaRPr lang="fr-FR" sz="1800" b="0" kern="1200" dirty="0">
            <a:solidFill>
              <a:schemeClr val="tx1"/>
            </a:solidFill>
            <a:latin typeface="Gill Sans" panose="020B0604020202020204"/>
          </a:endParaRPr>
        </a:p>
      </dsp:txBody>
      <dsp:txXfrm>
        <a:off x="305869" y="2358092"/>
        <a:ext cx="1476866" cy="1155697"/>
      </dsp:txXfrm>
    </dsp:sp>
    <dsp:sp modelId="{D9E9277F-9466-48A1-8FD5-0A0E535A0FCC}">
      <dsp:nvSpPr>
        <dsp:cNvPr id="0" name=""/>
        <dsp:cNvSpPr/>
      </dsp:nvSpPr>
      <dsp:spPr>
        <a:xfrm rot="2379866">
          <a:off x="4596184" y="1751826"/>
          <a:ext cx="592681" cy="52270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kern="1200" dirty="0">
            <a:solidFill>
              <a:schemeClr val="tx1"/>
            </a:solidFill>
            <a:latin typeface="Gill Sans" panose="020B0604020202020204"/>
          </a:endParaRPr>
        </a:p>
      </dsp:txBody>
      <dsp:txXfrm>
        <a:off x="4614233" y="1806322"/>
        <a:ext cx="435869" cy="313624"/>
      </dsp:txXfrm>
    </dsp:sp>
    <dsp:sp modelId="{CA841FF8-F505-4108-83F2-7E60B663492D}">
      <dsp:nvSpPr>
        <dsp:cNvPr id="0" name=""/>
        <dsp:cNvSpPr/>
      </dsp:nvSpPr>
      <dsp:spPr>
        <a:xfrm>
          <a:off x="4599386" y="2118739"/>
          <a:ext cx="3033461" cy="1634401"/>
        </a:xfrm>
        <a:prstGeom prst="ellipse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0" kern="1200" dirty="0" smtClean="0">
              <a:solidFill>
                <a:schemeClr val="tx1"/>
              </a:solidFill>
              <a:latin typeface="Gill Sans" panose="020B0604020202020204"/>
            </a:rPr>
            <a:t>La déresponsabilisation</a:t>
          </a:r>
          <a:endParaRPr lang="fr-FR" sz="1800" b="0" kern="1200" dirty="0">
            <a:solidFill>
              <a:schemeClr val="tx1"/>
            </a:solidFill>
            <a:latin typeface="Gill Sans" panose="020B0604020202020204"/>
          </a:endParaRPr>
        </a:p>
      </dsp:txBody>
      <dsp:txXfrm>
        <a:off x="5043626" y="2358091"/>
        <a:ext cx="2144981" cy="1155697"/>
      </dsp:txXfrm>
    </dsp:sp>
    <dsp:sp modelId="{5544DF46-F907-4F7F-B625-0FA63F6D0375}">
      <dsp:nvSpPr>
        <dsp:cNvPr id="0" name=""/>
        <dsp:cNvSpPr/>
      </dsp:nvSpPr>
      <dsp:spPr>
        <a:xfrm rot="5556511">
          <a:off x="3048440" y="2128822"/>
          <a:ext cx="753117" cy="52270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2000" kern="1200" dirty="0">
            <a:solidFill>
              <a:schemeClr val="tx1"/>
            </a:solidFill>
            <a:latin typeface="Gill Sans" panose="020B0604020202020204"/>
          </a:endParaRPr>
        </a:p>
      </dsp:txBody>
      <dsp:txXfrm rot="10800000">
        <a:off x="3130414" y="2155039"/>
        <a:ext cx="596305" cy="313624"/>
      </dsp:txXfrm>
    </dsp:sp>
    <dsp:sp modelId="{8A94FA10-5831-4C2F-B258-302C9823E52F}">
      <dsp:nvSpPr>
        <dsp:cNvPr id="0" name=""/>
        <dsp:cNvSpPr/>
      </dsp:nvSpPr>
      <dsp:spPr>
        <a:xfrm>
          <a:off x="2423633" y="2985984"/>
          <a:ext cx="2088604" cy="1634401"/>
        </a:xfrm>
        <a:prstGeom prst="ellipse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kern="1200" dirty="0" smtClean="0">
              <a:solidFill>
                <a:schemeClr val="tx1"/>
              </a:solidFill>
              <a:latin typeface="Gill Sans" panose="020B0604020202020204"/>
            </a:rPr>
            <a:t>La passivité</a:t>
          </a:r>
          <a:endParaRPr lang="fr-FR" sz="1800" kern="1200" dirty="0">
            <a:solidFill>
              <a:schemeClr val="tx1"/>
            </a:solidFill>
            <a:latin typeface="Gill Sans" panose="020B0604020202020204"/>
          </a:endParaRPr>
        </a:p>
      </dsp:txBody>
      <dsp:txXfrm>
        <a:off x="2729502" y="3225336"/>
        <a:ext cx="1476866" cy="1155697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1118D0-064F-4B2D-88CD-8876207323B8}">
      <dsp:nvSpPr>
        <dsp:cNvPr id="0" name=""/>
        <dsp:cNvSpPr/>
      </dsp:nvSpPr>
      <dsp:spPr>
        <a:xfrm rot="16200000">
          <a:off x="640184" y="-640184"/>
          <a:ext cx="2212020" cy="3492388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kern="1200" dirty="0" smtClean="0">
              <a:latin typeface="Gill Sans" panose="020B0604020202020204"/>
            </a:rPr>
            <a:t>Froisser le collaborateur</a:t>
          </a:r>
        </a:p>
      </dsp:txBody>
      <dsp:txXfrm rot="5400000">
        <a:off x="0" y="0"/>
        <a:ext cx="3492388" cy="1659015"/>
      </dsp:txXfrm>
    </dsp:sp>
    <dsp:sp modelId="{58B024EB-7E13-4E60-8AA6-21932FAD2073}">
      <dsp:nvSpPr>
        <dsp:cNvPr id="0" name=""/>
        <dsp:cNvSpPr/>
      </dsp:nvSpPr>
      <dsp:spPr>
        <a:xfrm>
          <a:off x="3492388" y="0"/>
          <a:ext cx="3492388" cy="2212020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kern="1200" dirty="0" smtClean="0">
              <a:latin typeface="Gill Sans" panose="020B0604020202020204"/>
            </a:rPr>
            <a:t>Donner de mauvaise direction</a:t>
          </a:r>
        </a:p>
      </dsp:txBody>
      <dsp:txXfrm>
        <a:off x="3492388" y="0"/>
        <a:ext cx="3492388" cy="1659015"/>
      </dsp:txXfrm>
    </dsp:sp>
    <dsp:sp modelId="{3A9625A0-880D-400B-9F0B-A80B4AC833C2}">
      <dsp:nvSpPr>
        <dsp:cNvPr id="0" name=""/>
        <dsp:cNvSpPr/>
      </dsp:nvSpPr>
      <dsp:spPr>
        <a:xfrm rot="10800000">
          <a:off x="0" y="2212020"/>
          <a:ext cx="3492388" cy="2212020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kern="1200" dirty="0" smtClean="0">
              <a:latin typeface="Gill Sans" panose="020B0604020202020204"/>
            </a:rPr>
            <a:t>Rompre le dialogue</a:t>
          </a:r>
          <a:endParaRPr lang="fr-FR" sz="2400" kern="1200" dirty="0">
            <a:latin typeface="Gill Sans" panose="020B0604020202020204"/>
          </a:endParaRPr>
        </a:p>
      </dsp:txBody>
      <dsp:txXfrm rot="10800000">
        <a:off x="0" y="2765024"/>
        <a:ext cx="3492388" cy="1659015"/>
      </dsp:txXfrm>
    </dsp:sp>
    <dsp:sp modelId="{92DF7426-C9A0-4FC8-9687-E9BD11583CA2}">
      <dsp:nvSpPr>
        <dsp:cNvPr id="0" name=""/>
        <dsp:cNvSpPr/>
      </dsp:nvSpPr>
      <dsp:spPr>
        <a:xfrm rot="5400000">
          <a:off x="4132572" y="1571836"/>
          <a:ext cx="2212020" cy="3492388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kern="1200" dirty="0" smtClean="0">
              <a:latin typeface="Gill Sans" panose="020B0604020202020204"/>
            </a:rPr>
            <a:t>Conflit / Rupture de la relation</a:t>
          </a:r>
          <a:endParaRPr lang="fr-FR" sz="2400" kern="1200" dirty="0">
            <a:latin typeface="Gill Sans" panose="020B0604020202020204"/>
          </a:endParaRPr>
        </a:p>
      </dsp:txBody>
      <dsp:txXfrm rot="-5400000">
        <a:off x="3492388" y="2765024"/>
        <a:ext cx="3492388" cy="1659015"/>
      </dsp:txXfrm>
    </dsp:sp>
    <dsp:sp modelId="{FBB55450-B7E6-4429-B737-DC884792730E}">
      <dsp:nvSpPr>
        <dsp:cNvPr id="0" name=""/>
        <dsp:cNvSpPr/>
      </dsp:nvSpPr>
      <dsp:spPr>
        <a:xfrm>
          <a:off x="1924763" y="1349758"/>
          <a:ext cx="3135249" cy="1724523"/>
        </a:xfrm>
        <a:prstGeom prst="flowChartPreparation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" panose="020B0604020202020204"/>
            </a:rPr>
            <a:t>Faire des erreurs de diagnostic</a:t>
          </a:r>
          <a:endParaRPr lang="fr-FR" sz="2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Gill Sans" panose="020B0604020202020204"/>
          </a:endParaRPr>
        </a:p>
      </dsp:txBody>
      <dsp:txXfrm>
        <a:off x="2551813" y="1349758"/>
        <a:ext cx="1881149" cy="17245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solidFill>
              <a:schemeClr val="accent1">
                <a:lumMod val="50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1 :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 Définition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du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Types de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Etapes du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Savoir-être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Savoir-faire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Phase 2 </a:t>
          </a:r>
          <a:r>
            <a:rPr lang="fr-FR" sz="950" kern="120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: Risques </a:t>
          </a:r>
          <a:r>
            <a:rPr lang="fr-FR" sz="950" kern="120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du coaching</a:t>
          </a:r>
          <a:endParaRPr lang="fr-FR" sz="950" kern="1200" dirty="0">
            <a:solidFill>
              <a:schemeClr val="bg1"/>
            </a:solidFill>
            <a:latin typeface="Gill Sans" panose="020B0604020202020204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Quand coacher ?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3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: Méthodes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de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Cas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A9A55B-FDA3-483D-A7D8-0C1DCFA9D1C5}">
      <dsp:nvSpPr>
        <dsp:cNvPr id="0" name=""/>
        <dsp:cNvSpPr/>
      </dsp:nvSpPr>
      <dsp:spPr>
        <a:xfrm>
          <a:off x="3113384" y="2385250"/>
          <a:ext cx="2002830" cy="200283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9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Maturité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9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Efficacité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9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Intelligence collective</a:t>
          </a:r>
          <a:endParaRPr lang="fr-FR" sz="1900" kern="12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sp:txBody>
      <dsp:txXfrm>
        <a:off x="3406692" y="2678558"/>
        <a:ext cx="1416214" cy="1416214"/>
      </dsp:txXfrm>
    </dsp:sp>
    <dsp:sp modelId="{B75AE6FE-6327-4892-852C-6281EF932031}">
      <dsp:nvSpPr>
        <dsp:cNvPr id="0" name=""/>
        <dsp:cNvSpPr/>
      </dsp:nvSpPr>
      <dsp:spPr>
        <a:xfrm rot="12900000">
          <a:off x="1826481" y="2035871"/>
          <a:ext cx="1533564" cy="570806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C71865B-CC59-4C04-9C6F-69B20A4A7D71}">
      <dsp:nvSpPr>
        <dsp:cNvPr id="0" name=""/>
        <dsp:cNvSpPr/>
      </dsp:nvSpPr>
      <dsp:spPr>
        <a:xfrm>
          <a:off x="1013807" y="1120391"/>
          <a:ext cx="1902689" cy="152215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Interactions entre les individus</a:t>
          </a:r>
          <a:endParaRPr lang="fr-FR" sz="1600" kern="12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sp:txBody>
      <dsp:txXfrm>
        <a:off x="1058389" y="1164973"/>
        <a:ext cx="1813525" cy="1432987"/>
      </dsp:txXfrm>
    </dsp:sp>
    <dsp:sp modelId="{601F7906-E557-43AD-931B-C576CF78821A}">
      <dsp:nvSpPr>
        <dsp:cNvPr id="0" name=""/>
        <dsp:cNvSpPr/>
      </dsp:nvSpPr>
      <dsp:spPr>
        <a:xfrm rot="16280724">
          <a:off x="3408699" y="1346467"/>
          <a:ext cx="1535529" cy="570806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2023DFE-A48C-44DF-B8F9-5BC2527ADA4A}">
      <dsp:nvSpPr>
        <dsp:cNvPr id="0" name=""/>
        <dsp:cNvSpPr/>
      </dsp:nvSpPr>
      <dsp:spPr>
        <a:xfrm>
          <a:off x="3225119" y="0"/>
          <a:ext cx="1902689" cy="152215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Equipe d’appartenance</a:t>
          </a:r>
          <a:endParaRPr lang="fr-FR" sz="1600" kern="12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sp:txBody>
      <dsp:txXfrm>
        <a:off x="3269701" y="44582"/>
        <a:ext cx="1813525" cy="1432987"/>
      </dsp:txXfrm>
    </dsp:sp>
    <dsp:sp modelId="{2774B128-DE0E-4104-93B0-D42DC7BFDC2C}">
      <dsp:nvSpPr>
        <dsp:cNvPr id="0" name=""/>
        <dsp:cNvSpPr/>
      </dsp:nvSpPr>
      <dsp:spPr>
        <a:xfrm rot="19500000">
          <a:off x="4869553" y="2035871"/>
          <a:ext cx="1533564" cy="570806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689C660-C666-410D-97B4-0BAA74419C97}">
      <dsp:nvSpPr>
        <dsp:cNvPr id="0" name=""/>
        <dsp:cNvSpPr/>
      </dsp:nvSpPr>
      <dsp:spPr>
        <a:xfrm>
          <a:off x="5313103" y="1120391"/>
          <a:ext cx="1902689" cy="152215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kern="1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  <a:cs typeface="Arial" pitchFamily="34" charset="0"/>
            </a:rPr>
            <a:t>Environnement</a:t>
          </a:r>
          <a:endParaRPr lang="fr-FR" sz="1600" kern="1200" dirty="0">
            <a:solidFill>
              <a:schemeClr val="accent1">
                <a:lumMod val="50000"/>
              </a:schemeClr>
            </a:solidFill>
            <a:latin typeface="Gill Sans" panose="020B0604020202020204"/>
            <a:cs typeface="Arial" pitchFamily="34" charset="0"/>
          </a:endParaRPr>
        </a:p>
      </dsp:txBody>
      <dsp:txXfrm>
        <a:off x="5357685" y="1164973"/>
        <a:ext cx="1813525" cy="143298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4059"/>
          <a:ext cx="1187624" cy="48143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4101" y="18160"/>
        <a:ext cx="1159422" cy="453232"/>
      </dsp:txXfrm>
    </dsp:sp>
    <dsp:sp modelId="{44B7898F-5A22-4319-8D85-0B72C2EF45F9}">
      <dsp:nvSpPr>
        <dsp:cNvPr id="0" name=""/>
        <dsp:cNvSpPr/>
      </dsp:nvSpPr>
      <dsp:spPr>
        <a:xfrm rot="5400000">
          <a:off x="503543" y="497530"/>
          <a:ext cx="180537" cy="2166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28819" y="515584"/>
        <a:ext cx="129987" cy="126376"/>
      </dsp:txXfrm>
    </dsp:sp>
    <dsp:sp modelId="{3D35B79B-418E-472B-B684-1ACC0A6CC011}">
      <dsp:nvSpPr>
        <dsp:cNvPr id="0" name=""/>
        <dsp:cNvSpPr/>
      </dsp:nvSpPr>
      <dsp:spPr>
        <a:xfrm>
          <a:off x="0" y="726211"/>
          <a:ext cx="1187624" cy="48143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4101" y="740312"/>
        <a:ext cx="1159422" cy="453232"/>
      </dsp:txXfrm>
    </dsp:sp>
    <dsp:sp modelId="{6C27A5CC-5F13-4059-9AE7-C0A63DD7EC7E}">
      <dsp:nvSpPr>
        <dsp:cNvPr id="0" name=""/>
        <dsp:cNvSpPr/>
      </dsp:nvSpPr>
      <dsp:spPr>
        <a:xfrm rot="5400000">
          <a:off x="503543" y="1219681"/>
          <a:ext cx="180537" cy="2166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28819" y="1237735"/>
        <a:ext cx="129987" cy="126376"/>
      </dsp:txXfrm>
    </dsp:sp>
    <dsp:sp modelId="{4FD2053B-5A77-4D34-8C66-D50B8724D81E}">
      <dsp:nvSpPr>
        <dsp:cNvPr id="0" name=""/>
        <dsp:cNvSpPr/>
      </dsp:nvSpPr>
      <dsp:spPr>
        <a:xfrm>
          <a:off x="0" y="1448363"/>
          <a:ext cx="1187624" cy="48143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4101" y="1462464"/>
        <a:ext cx="1159422" cy="453232"/>
      </dsp:txXfrm>
    </dsp:sp>
    <dsp:sp modelId="{F9790B67-A8A7-47D4-8E75-D889EA350148}">
      <dsp:nvSpPr>
        <dsp:cNvPr id="0" name=""/>
        <dsp:cNvSpPr/>
      </dsp:nvSpPr>
      <dsp:spPr>
        <a:xfrm rot="5400000">
          <a:off x="503543" y="1941833"/>
          <a:ext cx="180537" cy="2166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28819" y="1959887"/>
        <a:ext cx="129987" cy="126376"/>
      </dsp:txXfrm>
    </dsp:sp>
    <dsp:sp modelId="{7EF63230-6818-417B-9423-2B2909FB868A}">
      <dsp:nvSpPr>
        <dsp:cNvPr id="0" name=""/>
        <dsp:cNvSpPr/>
      </dsp:nvSpPr>
      <dsp:spPr>
        <a:xfrm>
          <a:off x="0" y="2170514"/>
          <a:ext cx="1187624" cy="481434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4101" y="2184615"/>
        <a:ext cx="1159422" cy="453232"/>
      </dsp:txXfrm>
    </dsp:sp>
    <dsp:sp modelId="{6C1BCA69-22CF-4F05-B914-357F6B8C02D5}">
      <dsp:nvSpPr>
        <dsp:cNvPr id="0" name=""/>
        <dsp:cNvSpPr/>
      </dsp:nvSpPr>
      <dsp:spPr>
        <a:xfrm rot="5400000">
          <a:off x="503543" y="2663985"/>
          <a:ext cx="180537" cy="2166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28819" y="2682039"/>
        <a:ext cx="129987" cy="126376"/>
      </dsp:txXfrm>
    </dsp:sp>
    <dsp:sp modelId="{564A9C2A-4DC0-4B71-8BDC-7615D299EDCD}">
      <dsp:nvSpPr>
        <dsp:cNvPr id="0" name=""/>
        <dsp:cNvSpPr/>
      </dsp:nvSpPr>
      <dsp:spPr>
        <a:xfrm>
          <a:off x="0" y="2892666"/>
          <a:ext cx="1187624" cy="48143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4101" y="2906767"/>
        <a:ext cx="1159422" cy="453232"/>
      </dsp:txXfrm>
    </dsp:sp>
    <dsp:sp modelId="{0DFF998B-AB70-42CB-B86E-F2EDC6F014F8}">
      <dsp:nvSpPr>
        <dsp:cNvPr id="0" name=""/>
        <dsp:cNvSpPr/>
      </dsp:nvSpPr>
      <dsp:spPr>
        <a:xfrm rot="5400000">
          <a:off x="503543" y="3386136"/>
          <a:ext cx="180537" cy="2166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28819" y="3404190"/>
        <a:ext cx="129987" cy="126376"/>
      </dsp:txXfrm>
    </dsp:sp>
    <dsp:sp modelId="{D49DFB90-1383-44F2-BB66-0887BCA7C4E5}">
      <dsp:nvSpPr>
        <dsp:cNvPr id="0" name=""/>
        <dsp:cNvSpPr/>
      </dsp:nvSpPr>
      <dsp:spPr>
        <a:xfrm>
          <a:off x="0" y="3614818"/>
          <a:ext cx="1187624" cy="48143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4101" y="3628919"/>
        <a:ext cx="1159422" cy="453232"/>
      </dsp:txXfrm>
    </dsp:sp>
    <dsp:sp modelId="{B22BB23F-E05B-4013-81BD-85F13AFDE6D1}">
      <dsp:nvSpPr>
        <dsp:cNvPr id="0" name=""/>
        <dsp:cNvSpPr/>
      </dsp:nvSpPr>
      <dsp:spPr>
        <a:xfrm rot="5400000">
          <a:off x="503543" y="4108288"/>
          <a:ext cx="180537" cy="2166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28819" y="4126342"/>
        <a:ext cx="129987" cy="126376"/>
      </dsp:txXfrm>
    </dsp:sp>
    <dsp:sp modelId="{76E90E60-5B19-4029-8BE8-12C0FAC09B4F}">
      <dsp:nvSpPr>
        <dsp:cNvPr id="0" name=""/>
        <dsp:cNvSpPr/>
      </dsp:nvSpPr>
      <dsp:spPr>
        <a:xfrm>
          <a:off x="0" y="4336970"/>
          <a:ext cx="1187624" cy="48143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4101" y="4351071"/>
        <a:ext cx="1159422" cy="453232"/>
      </dsp:txXfrm>
    </dsp:sp>
    <dsp:sp modelId="{A84114DE-6569-47D6-AD13-3BDCDD5C3236}">
      <dsp:nvSpPr>
        <dsp:cNvPr id="0" name=""/>
        <dsp:cNvSpPr/>
      </dsp:nvSpPr>
      <dsp:spPr>
        <a:xfrm rot="5400000">
          <a:off x="503543" y="4830440"/>
          <a:ext cx="180537" cy="21664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28819" y="4848494"/>
        <a:ext cx="129987" cy="126376"/>
      </dsp:txXfrm>
    </dsp:sp>
    <dsp:sp modelId="{2E1F2D2C-88F0-4727-80FE-ADD5804EF2B7}">
      <dsp:nvSpPr>
        <dsp:cNvPr id="0" name=""/>
        <dsp:cNvSpPr/>
      </dsp:nvSpPr>
      <dsp:spPr>
        <a:xfrm>
          <a:off x="0" y="5059121"/>
          <a:ext cx="1187624" cy="48143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4101" y="5073222"/>
        <a:ext cx="1159422" cy="45323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Gill Sans" panose="020B0604020202020204"/>
              <a:cs typeface="Arial" pitchFamily="34" charset="0"/>
            </a:rPr>
            <a:t>Définition du coaching</a:t>
          </a:r>
          <a:endParaRPr lang="fr-FR" sz="950" kern="1200" dirty="0">
            <a:solidFill>
              <a:schemeClr val="bg1"/>
            </a:solidFill>
            <a:latin typeface="Gill Sans" panose="020B0604020202020204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Types de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Etapes du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Savoir-être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Savoir-faire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Risques du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Quand coacher ?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Phase 3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: Méthodes </a:t>
          </a:r>
          <a:r>
            <a:rPr lang="fr-FR" sz="950" kern="1200" dirty="0" smtClean="0">
              <a:latin typeface="Gill Sans" panose="020B0604020202020204"/>
              <a:cs typeface="Arial" pitchFamily="34" charset="0"/>
            </a:rPr>
            <a:t>de coaching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Gill Sans" panose="020B0604020202020204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Gill Sans" panose="020B0604020202020204"/>
              <a:cs typeface="Arial" pitchFamily="34" charset="0"/>
            </a:rPr>
            <a:t>Cas</a:t>
          </a:r>
          <a:endParaRPr lang="fr-FR" sz="950" kern="1200" dirty="0">
            <a:latin typeface="Gill Sans" panose="020B0604020202020204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F2BDF6-F9F8-41DC-9874-6F84B6C7034A}">
      <dsp:nvSpPr>
        <dsp:cNvPr id="0" name=""/>
        <dsp:cNvSpPr/>
      </dsp:nvSpPr>
      <dsp:spPr>
        <a:xfrm>
          <a:off x="0" y="338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 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Définition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5860"/>
        <a:ext cx="1162670" cy="401034"/>
      </dsp:txXfrm>
    </dsp:sp>
    <dsp:sp modelId="{44B7898F-5A22-4319-8D85-0B72C2EF45F9}">
      <dsp:nvSpPr>
        <dsp:cNvPr id="0" name=""/>
        <dsp:cNvSpPr/>
      </dsp:nvSpPr>
      <dsp:spPr>
        <a:xfrm rot="5400000">
          <a:off x="513939" y="44002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55996"/>
        <a:ext cx="115016" cy="111822"/>
      </dsp:txXfrm>
    </dsp:sp>
    <dsp:sp modelId="{3D35B79B-418E-472B-B684-1ACC0A6CC011}">
      <dsp:nvSpPr>
        <dsp:cNvPr id="0" name=""/>
        <dsp:cNvSpPr/>
      </dsp:nvSpPr>
      <dsp:spPr>
        <a:xfrm>
          <a:off x="0" y="642366"/>
          <a:ext cx="1187624" cy="425988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Types de coaching</a:t>
          </a:r>
          <a:endParaRPr lang="fr-FR" sz="95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12477" y="654843"/>
        <a:ext cx="1162670" cy="401034"/>
      </dsp:txXfrm>
    </dsp:sp>
    <dsp:sp modelId="{6C27A5CC-5F13-4059-9AE7-C0A63DD7EC7E}">
      <dsp:nvSpPr>
        <dsp:cNvPr id="0" name=""/>
        <dsp:cNvSpPr/>
      </dsp:nvSpPr>
      <dsp:spPr>
        <a:xfrm rot="5400000">
          <a:off x="513939" y="107900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094979"/>
        <a:ext cx="115016" cy="111822"/>
      </dsp:txXfrm>
    </dsp:sp>
    <dsp:sp modelId="{4FD2053B-5A77-4D34-8C66-D50B8724D81E}">
      <dsp:nvSpPr>
        <dsp:cNvPr id="0" name=""/>
        <dsp:cNvSpPr/>
      </dsp:nvSpPr>
      <dsp:spPr>
        <a:xfrm>
          <a:off x="0" y="128134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1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Etap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293825"/>
        <a:ext cx="1162670" cy="401034"/>
      </dsp:txXfrm>
    </dsp:sp>
    <dsp:sp modelId="{F9790B67-A8A7-47D4-8E75-D889EA350148}">
      <dsp:nvSpPr>
        <dsp:cNvPr id="0" name=""/>
        <dsp:cNvSpPr/>
      </dsp:nvSpPr>
      <dsp:spPr>
        <a:xfrm rot="5400000">
          <a:off x="513939" y="1717986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1733961"/>
        <a:ext cx="115016" cy="111822"/>
      </dsp:txXfrm>
    </dsp:sp>
    <dsp:sp modelId="{7EF63230-6818-417B-9423-2B2909FB868A}">
      <dsp:nvSpPr>
        <dsp:cNvPr id="0" name=""/>
        <dsp:cNvSpPr/>
      </dsp:nvSpPr>
      <dsp:spPr>
        <a:xfrm>
          <a:off x="0" y="1920331"/>
          <a:ext cx="1187624" cy="425988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êt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1932808"/>
        <a:ext cx="1162670" cy="401034"/>
      </dsp:txXfrm>
    </dsp:sp>
    <dsp:sp modelId="{6C1BCA69-22CF-4F05-B914-357F6B8C02D5}">
      <dsp:nvSpPr>
        <dsp:cNvPr id="0" name=""/>
        <dsp:cNvSpPr/>
      </dsp:nvSpPr>
      <dsp:spPr>
        <a:xfrm rot="5400000">
          <a:off x="513939" y="235696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2372944"/>
        <a:ext cx="115016" cy="111822"/>
      </dsp:txXfrm>
    </dsp:sp>
    <dsp:sp modelId="{564A9C2A-4DC0-4B71-8BDC-7615D299EDCD}">
      <dsp:nvSpPr>
        <dsp:cNvPr id="0" name=""/>
        <dsp:cNvSpPr/>
      </dsp:nvSpPr>
      <dsp:spPr>
        <a:xfrm>
          <a:off x="0" y="2559313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Savoir-faire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2571790"/>
        <a:ext cx="1162670" cy="401034"/>
      </dsp:txXfrm>
    </dsp:sp>
    <dsp:sp modelId="{0DFF998B-AB70-42CB-B86E-F2EDC6F014F8}">
      <dsp:nvSpPr>
        <dsp:cNvPr id="0" name=""/>
        <dsp:cNvSpPr/>
      </dsp:nvSpPr>
      <dsp:spPr>
        <a:xfrm rot="5400000">
          <a:off x="513939" y="2995951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011926"/>
        <a:ext cx="115016" cy="111822"/>
      </dsp:txXfrm>
    </dsp:sp>
    <dsp:sp modelId="{D49DFB90-1383-44F2-BB66-0887BCA7C4E5}">
      <dsp:nvSpPr>
        <dsp:cNvPr id="0" name=""/>
        <dsp:cNvSpPr/>
      </dsp:nvSpPr>
      <dsp:spPr>
        <a:xfrm>
          <a:off x="0" y="3198296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2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Risques du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210773"/>
        <a:ext cx="1162670" cy="401034"/>
      </dsp:txXfrm>
    </dsp:sp>
    <dsp:sp modelId="{B22BB23F-E05B-4013-81BD-85F13AFDE6D1}">
      <dsp:nvSpPr>
        <dsp:cNvPr id="0" name=""/>
        <dsp:cNvSpPr/>
      </dsp:nvSpPr>
      <dsp:spPr>
        <a:xfrm rot="5400000">
          <a:off x="513939" y="3634934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3650909"/>
        <a:ext cx="115016" cy="111822"/>
      </dsp:txXfrm>
    </dsp:sp>
    <dsp:sp modelId="{CD5751FF-25F1-44FE-B9E8-824DB4F14981}">
      <dsp:nvSpPr>
        <dsp:cNvPr id="0" name=""/>
        <dsp:cNvSpPr/>
      </dsp:nvSpPr>
      <dsp:spPr>
        <a:xfrm>
          <a:off x="0" y="3837278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Quand coacher ?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3849755"/>
        <a:ext cx="1162670" cy="401034"/>
      </dsp:txXfrm>
    </dsp:sp>
    <dsp:sp modelId="{28AF62BE-D6B0-493F-B896-8629ECF24A49}">
      <dsp:nvSpPr>
        <dsp:cNvPr id="0" name=""/>
        <dsp:cNvSpPr/>
      </dsp:nvSpPr>
      <dsp:spPr>
        <a:xfrm rot="5400000">
          <a:off x="513939" y="4273917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289892"/>
        <a:ext cx="115016" cy="111822"/>
      </dsp:txXfrm>
    </dsp:sp>
    <dsp:sp modelId="{76E90E60-5B19-4029-8BE8-12C0FAC09B4F}">
      <dsp:nvSpPr>
        <dsp:cNvPr id="0" name=""/>
        <dsp:cNvSpPr/>
      </dsp:nvSpPr>
      <dsp:spPr>
        <a:xfrm>
          <a:off x="0" y="4476261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Phase 3 :</a:t>
          </a:r>
        </a:p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Méthodes de coaching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4488738"/>
        <a:ext cx="1162670" cy="401034"/>
      </dsp:txXfrm>
    </dsp:sp>
    <dsp:sp modelId="{A84114DE-6569-47D6-AD13-3BDCDD5C3236}">
      <dsp:nvSpPr>
        <dsp:cNvPr id="0" name=""/>
        <dsp:cNvSpPr/>
      </dsp:nvSpPr>
      <dsp:spPr>
        <a:xfrm rot="5400000">
          <a:off x="513939" y="4912899"/>
          <a:ext cx="159745" cy="19169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50" kern="1200">
            <a:latin typeface="Arial" pitchFamily="34" charset="0"/>
            <a:cs typeface="Arial" pitchFamily="34" charset="0"/>
          </a:endParaRPr>
        </a:p>
      </dsp:txBody>
      <dsp:txXfrm rot="-5400000">
        <a:off x="536304" y="4928874"/>
        <a:ext cx="115016" cy="111822"/>
      </dsp:txXfrm>
    </dsp:sp>
    <dsp:sp modelId="{2E1F2D2C-88F0-4727-80FE-ADD5804EF2B7}">
      <dsp:nvSpPr>
        <dsp:cNvPr id="0" name=""/>
        <dsp:cNvSpPr/>
      </dsp:nvSpPr>
      <dsp:spPr>
        <a:xfrm>
          <a:off x="0" y="5115244"/>
          <a:ext cx="1187624" cy="425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2227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50" kern="1200" dirty="0" smtClean="0">
              <a:latin typeface="Arial" pitchFamily="34" charset="0"/>
              <a:cs typeface="Arial" pitchFamily="34" charset="0"/>
            </a:rPr>
            <a:t>Cas</a:t>
          </a:r>
          <a:endParaRPr lang="fr-FR" sz="950" kern="1200" dirty="0">
            <a:latin typeface="Arial" pitchFamily="34" charset="0"/>
            <a:cs typeface="Arial" pitchFamily="34" charset="0"/>
          </a:endParaRPr>
        </a:p>
      </dsp:txBody>
      <dsp:txXfrm>
        <a:off x="12477" y="5127721"/>
        <a:ext cx="1162670" cy="4010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662879E-60FF-41F2-9E1A-1E3FADBAB92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F597C74-1026-45C3-8646-7B1524AD8F6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132AF1BA-F3F8-42A7-A822-CF22018B0EFE}" type="datetimeFigureOut">
              <a:rPr lang="en-US"/>
              <a:pPr>
                <a:defRPr/>
              </a:pPr>
              <a:t>6/16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4F5FFAC-ED95-459A-82CF-DB175D9476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4BD0DAA-8357-4165-90D5-09F7359E714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1C6BCD05-6115-4B10-AED7-665B051BF01E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71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3D688FCE-394E-451F-B69C-48BC5C3AAF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42712A09-6961-490C-BA1C-572E397E724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1545D8F0-F33E-4524-A2E2-02AB0CBB6341}" type="datetimeFigureOut">
              <a:rPr lang="fr-FR"/>
              <a:pPr>
                <a:defRPr/>
              </a:pPr>
              <a:t>16/06/2019</a:t>
            </a:fld>
            <a:endParaRPr lang="fr-FR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xmlns="" id="{23B2DE78-A640-40A7-85A5-808FC455C03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29796D99-766C-4532-BCEC-415991CB30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r-FR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07C966F-2312-45E5-9093-B0A77BA39F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19CE548-F714-439F-AFE4-87B729E74A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1A87D07B-6B66-4B73-803A-D5385C7BBA6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4253868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fr-FR" b="1" smtClean="0"/>
          </a:p>
          <a:p>
            <a:pPr eaLnBrk="1" hangingPunct="1">
              <a:spcBef>
                <a:spcPct val="0"/>
              </a:spcBef>
              <a:buFontTx/>
              <a:buChar char="•"/>
            </a:pPr>
            <a:endParaRPr lang="en-US" altLang="fr-FR" smtClean="0"/>
          </a:p>
        </p:txBody>
      </p:sp>
      <p:sp>
        <p:nvSpPr>
          <p:cNvPr id="717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B8187F6-0FE7-419D-B963-CACB972C1783}" type="slidenum">
              <a:rPr lang="fr-FR" altLang="fr-FR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fr-FR" altLang="fr-FR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0726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Bénédicte (commente) et Mar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40255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atacha et Marion (commente)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64686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atacha (commente) et Bénédict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66699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atacha et Marion (commente)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38544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Mar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78443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Bénédict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503471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atach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35094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at, Marion, Béné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46557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Marion + scénettes</a:t>
            </a:r>
            <a:r>
              <a:rPr lang="fr-FR" baseline="0" dirty="0" smtClean="0"/>
              <a:t> </a:t>
            </a:r>
            <a:r>
              <a:rPr lang="fr-FR" baseline="0" dirty="0" err="1" smtClean="0"/>
              <a:t>nat</a:t>
            </a:r>
            <a:r>
              <a:rPr lang="fr-FR" baseline="0" dirty="0" smtClean="0"/>
              <a:t> et </a:t>
            </a:r>
            <a:r>
              <a:rPr lang="fr-FR" baseline="0" dirty="0" err="1" smtClean="0"/>
              <a:t>béné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0681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Mar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36988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atach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94865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Bénédict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92284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Natach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76501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Mar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1353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Bénédicte et Marion (commente)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89097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Bénédicte (commente) et Mar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37712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Bénédicte et Marion (commente)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AAD04-234C-4B3A-B1CB-CEE746E3A88D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4718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433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3673" y="327461"/>
            <a:ext cx="323309" cy="3890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5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5364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7544" y="692696"/>
            <a:ext cx="8229600" cy="5063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kumimoji="0" lang="fr-FR" dirty="0" smtClean="0"/>
              <a:t>Cliquez pour modifier le style du titre</a:t>
            </a:r>
            <a:endParaRPr kumimoji="0"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/>
          <a:lstStyle/>
          <a:p>
            <a:pPr lvl="0" eaLnBrk="1" latinLnBrk="0" hangingPunct="1"/>
            <a:r>
              <a:rPr lang="fr-FR" dirty="0" smtClean="0"/>
              <a:t>Cliquez pour modifier les styles du texte du masque</a:t>
            </a:r>
          </a:p>
          <a:p>
            <a:pPr lvl="1" eaLnBrk="1" latinLnBrk="0" hangingPunct="1"/>
            <a:r>
              <a:rPr lang="fr-FR" dirty="0" smtClean="0"/>
              <a:t>Deuxième niveau</a:t>
            </a:r>
          </a:p>
          <a:p>
            <a:pPr lvl="2" eaLnBrk="1" latinLnBrk="0" hangingPunct="1"/>
            <a:r>
              <a:rPr lang="fr-FR" dirty="0" smtClean="0"/>
              <a:t>Troisième niveau</a:t>
            </a:r>
          </a:p>
          <a:p>
            <a:pPr lvl="3" eaLnBrk="1" latinLnBrk="0" hangingPunct="1"/>
            <a:r>
              <a:rPr lang="fr-FR" dirty="0" smtClean="0"/>
              <a:t>Quatrième niveau</a:t>
            </a:r>
          </a:p>
          <a:p>
            <a:pPr lvl="4" eaLnBrk="1" latinLnBrk="0" hangingPunct="1"/>
            <a:r>
              <a:rPr lang="fr-FR" dirty="0" smtClean="0"/>
              <a:t>Cinquième niveau</a:t>
            </a:r>
            <a:endParaRPr kumimoji="0" lang="en-US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545C96C-53EF-4272-8C6C-B8660C9863EE}" type="datetime1">
              <a:rPr lang="fr-FR" smtClean="0"/>
              <a:pPr/>
              <a:t>16/06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995936" y="6309320"/>
            <a:ext cx="762000" cy="365125"/>
          </a:xfrm>
        </p:spPr>
        <p:txBody>
          <a:bodyPr/>
          <a:lstStyle/>
          <a:p>
            <a:fld id="{AA646889-9E54-42B1-B90E-3EFD9B1560F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13502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110643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5" Type="http://schemas.openxmlformats.org/officeDocument/2006/relationships/image" Target="../media/image4.jpeg"/><Relationship Id="rId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emf"/><Relationship Id="rId5" Type="http://schemas.openxmlformats.org/officeDocument/2006/relationships/image" Target="../media/image2.emf"/><Relationship Id="rId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age 18" descr="background-01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3388"/>
            <a:ext cx="9144000" cy="647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ag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00" y="0"/>
            <a:ext cx="9194800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Image 1" descr="Logo-header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304800"/>
            <a:ext cx="8369300" cy="442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Image 12" descr="background-02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47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Imag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30925"/>
            <a:ext cx="9144000" cy="42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Image 1" descr="Logo-footer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6375400"/>
            <a:ext cx="8154987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3673" y="327461"/>
            <a:ext cx="323309" cy="38908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5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custDataLst>
      <p:tags r:id="rId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8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Image 13" descr="background-01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47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Imag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25400" y="5767388"/>
            <a:ext cx="9194800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Imag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6207125"/>
            <a:ext cx="8420100" cy="28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ZoneTexte 14">
            <a:extLst>
              <a:ext uri="{FF2B5EF4-FFF2-40B4-BE49-F238E27FC236}">
                <a16:creationId xmlns:a16="http://schemas.microsoft.com/office/drawing/2014/main" xmlns="" id="{39C461FE-DCBE-4974-B1EA-149488C96D1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31625" y="3905250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fr-FR">
              <a:latin typeface="Calibri" charset="0"/>
            </a:endParaRPr>
          </a:p>
        </p:txBody>
      </p:sp>
    </p:spTree>
    <p:custDataLst>
      <p:tags r:id="rId3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10.xml"/><Relationship Id="rId3" Type="http://schemas.openxmlformats.org/officeDocument/2006/relationships/tags" Target="../tags/tag29.xml"/><Relationship Id="rId7" Type="http://schemas.openxmlformats.org/officeDocument/2006/relationships/oleObject" Target="../embeddings/oleObject8.bin"/><Relationship Id="rId12" Type="http://schemas.openxmlformats.org/officeDocument/2006/relationships/diagramColors" Target="../diagrams/colors10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0.xml"/><Relationship Id="rId11" Type="http://schemas.openxmlformats.org/officeDocument/2006/relationships/diagramQuickStyle" Target="../diagrams/quickStyle10.xml"/><Relationship Id="rId5" Type="http://schemas.openxmlformats.org/officeDocument/2006/relationships/slideLayout" Target="../slideLayouts/slideLayout3.xml"/><Relationship Id="rId10" Type="http://schemas.openxmlformats.org/officeDocument/2006/relationships/diagramLayout" Target="../diagrams/layout10.xml"/><Relationship Id="rId4" Type="http://schemas.openxmlformats.org/officeDocument/2006/relationships/tags" Target="../tags/tag30.xml"/><Relationship Id="rId9" Type="http://schemas.openxmlformats.org/officeDocument/2006/relationships/diagramData" Target="../diagrams/data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diagramQuickStyle" Target="../diagrams/quickStyle11.xml"/><Relationship Id="rId18" Type="http://schemas.openxmlformats.org/officeDocument/2006/relationships/diagramData" Target="../diagrams/data12.xml"/><Relationship Id="rId3" Type="http://schemas.openxmlformats.org/officeDocument/2006/relationships/tags" Target="../tags/tag32.xml"/><Relationship Id="rId21" Type="http://schemas.openxmlformats.org/officeDocument/2006/relationships/diagramColors" Target="../diagrams/colors12.xml"/><Relationship Id="rId7" Type="http://schemas.openxmlformats.org/officeDocument/2006/relationships/oleObject" Target="../embeddings/oleObject9.bin"/><Relationship Id="rId12" Type="http://schemas.openxmlformats.org/officeDocument/2006/relationships/diagramLayout" Target="../diagrams/layout11.xml"/><Relationship Id="rId17" Type="http://schemas.openxmlformats.org/officeDocument/2006/relationships/image" Target="../media/image13.jpeg"/><Relationship Id="rId2" Type="http://schemas.openxmlformats.org/officeDocument/2006/relationships/tags" Target="../tags/tag31.xml"/><Relationship Id="rId16" Type="http://schemas.openxmlformats.org/officeDocument/2006/relationships/image" Target="../media/image12.jpeg"/><Relationship Id="rId20" Type="http://schemas.openxmlformats.org/officeDocument/2006/relationships/diagramQuickStyle" Target="../diagrams/quickStyle12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11.xml"/><Relationship Id="rId11" Type="http://schemas.openxmlformats.org/officeDocument/2006/relationships/diagramData" Target="../diagrams/data11.xml"/><Relationship Id="rId5" Type="http://schemas.openxmlformats.org/officeDocument/2006/relationships/slideLayout" Target="../slideLayouts/slideLayout3.xml"/><Relationship Id="rId15" Type="http://schemas.microsoft.com/office/2007/relationships/diagramDrawing" Target="../diagrams/drawing11.xml"/><Relationship Id="rId10" Type="http://schemas.openxmlformats.org/officeDocument/2006/relationships/image" Target="../media/image11.jpeg"/><Relationship Id="rId19" Type="http://schemas.openxmlformats.org/officeDocument/2006/relationships/diagramLayout" Target="../diagrams/layout12.xml"/><Relationship Id="rId4" Type="http://schemas.openxmlformats.org/officeDocument/2006/relationships/tags" Target="../tags/tag33.xml"/><Relationship Id="rId9" Type="http://schemas.openxmlformats.org/officeDocument/2006/relationships/image" Target="../media/image10.jpeg"/><Relationship Id="rId14" Type="http://schemas.openxmlformats.org/officeDocument/2006/relationships/diagramColors" Target="../diagrams/colors11.xml"/><Relationship Id="rId22" Type="http://schemas.microsoft.com/office/2007/relationships/diagramDrawing" Target="../diagrams/drawing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13.xml"/><Relationship Id="rId18" Type="http://schemas.microsoft.com/office/2007/relationships/diagramDrawing" Target="../diagrams/drawing14.xml"/><Relationship Id="rId3" Type="http://schemas.openxmlformats.org/officeDocument/2006/relationships/tags" Target="../tags/tag35.xml"/><Relationship Id="rId7" Type="http://schemas.openxmlformats.org/officeDocument/2006/relationships/oleObject" Target="../embeddings/oleObject10.bin"/><Relationship Id="rId12" Type="http://schemas.openxmlformats.org/officeDocument/2006/relationships/diagramColors" Target="../diagrams/colors13.xml"/><Relationship Id="rId17" Type="http://schemas.openxmlformats.org/officeDocument/2006/relationships/diagramColors" Target="../diagrams/colors14.xml"/><Relationship Id="rId2" Type="http://schemas.openxmlformats.org/officeDocument/2006/relationships/tags" Target="../tags/tag34.xml"/><Relationship Id="rId16" Type="http://schemas.openxmlformats.org/officeDocument/2006/relationships/diagramQuickStyle" Target="../diagrams/quickStyle14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12.xml"/><Relationship Id="rId11" Type="http://schemas.openxmlformats.org/officeDocument/2006/relationships/diagramQuickStyle" Target="../diagrams/quickStyle13.xml"/><Relationship Id="rId5" Type="http://schemas.openxmlformats.org/officeDocument/2006/relationships/slideLayout" Target="../slideLayouts/slideLayout3.xml"/><Relationship Id="rId15" Type="http://schemas.openxmlformats.org/officeDocument/2006/relationships/diagramLayout" Target="../diagrams/layout14.xml"/><Relationship Id="rId10" Type="http://schemas.openxmlformats.org/officeDocument/2006/relationships/diagramLayout" Target="../diagrams/layout13.xml"/><Relationship Id="rId4" Type="http://schemas.openxmlformats.org/officeDocument/2006/relationships/tags" Target="../tags/tag36.xml"/><Relationship Id="rId9" Type="http://schemas.openxmlformats.org/officeDocument/2006/relationships/diagramData" Target="../diagrams/data13.xml"/><Relationship Id="rId14" Type="http://schemas.openxmlformats.org/officeDocument/2006/relationships/diagramData" Target="../diagrams/data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15.xml"/><Relationship Id="rId18" Type="http://schemas.microsoft.com/office/2007/relationships/diagramDrawing" Target="../diagrams/drawing16.xml"/><Relationship Id="rId3" Type="http://schemas.openxmlformats.org/officeDocument/2006/relationships/tags" Target="../tags/tag38.xml"/><Relationship Id="rId7" Type="http://schemas.openxmlformats.org/officeDocument/2006/relationships/oleObject" Target="../embeddings/oleObject11.bin"/><Relationship Id="rId12" Type="http://schemas.openxmlformats.org/officeDocument/2006/relationships/diagramColors" Target="../diagrams/colors15.xml"/><Relationship Id="rId17" Type="http://schemas.openxmlformats.org/officeDocument/2006/relationships/diagramColors" Target="../diagrams/colors16.xml"/><Relationship Id="rId2" Type="http://schemas.openxmlformats.org/officeDocument/2006/relationships/tags" Target="../tags/tag37.xml"/><Relationship Id="rId16" Type="http://schemas.openxmlformats.org/officeDocument/2006/relationships/diagramQuickStyle" Target="../diagrams/quickStyle16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13.xml"/><Relationship Id="rId11" Type="http://schemas.openxmlformats.org/officeDocument/2006/relationships/diagramQuickStyle" Target="../diagrams/quickStyle15.xml"/><Relationship Id="rId5" Type="http://schemas.openxmlformats.org/officeDocument/2006/relationships/slideLayout" Target="../slideLayouts/slideLayout3.xml"/><Relationship Id="rId15" Type="http://schemas.openxmlformats.org/officeDocument/2006/relationships/diagramLayout" Target="../diagrams/layout16.xml"/><Relationship Id="rId10" Type="http://schemas.openxmlformats.org/officeDocument/2006/relationships/diagramLayout" Target="../diagrams/layout15.xml"/><Relationship Id="rId4" Type="http://schemas.openxmlformats.org/officeDocument/2006/relationships/tags" Target="../tags/tag39.xml"/><Relationship Id="rId9" Type="http://schemas.openxmlformats.org/officeDocument/2006/relationships/diagramData" Target="../diagrams/data15.xml"/><Relationship Id="rId14" Type="http://schemas.openxmlformats.org/officeDocument/2006/relationships/diagramData" Target="../diagrams/data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41.xml"/><Relationship Id="rId7" Type="http://schemas.openxmlformats.org/officeDocument/2006/relationships/image" Target="../media/image8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17.xml"/><Relationship Id="rId18" Type="http://schemas.microsoft.com/office/2007/relationships/diagramDrawing" Target="../diagrams/drawing18.xml"/><Relationship Id="rId3" Type="http://schemas.openxmlformats.org/officeDocument/2006/relationships/tags" Target="../tags/tag43.xml"/><Relationship Id="rId7" Type="http://schemas.openxmlformats.org/officeDocument/2006/relationships/oleObject" Target="../embeddings/oleObject13.bin"/><Relationship Id="rId12" Type="http://schemas.openxmlformats.org/officeDocument/2006/relationships/diagramColors" Target="../diagrams/colors17.xml"/><Relationship Id="rId17" Type="http://schemas.openxmlformats.org/officeDocument/2006/relationships/diagramColors" Target="../diagrams/colors18.xml"/><Relationship Id="rId2" Type="http://schemas.openxmlformats.org/officeDocument/2006/relationships/tags" Target="../tags/tag42.xml"/><Relationship Id="rId16" Type="http://schemas.openxmlformats.org/officeDocument/2006/relationships/diagramQuickStyle" Target="../diagrams/quickStyle18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5.xml"/><Relationship Id="rId11" Type="http://schemas.openxmlformats.org/officeDocument/2006/relationships/diagramQuickStyle" Target="../diagrams/quickStyle17.xml"/><Relationship Id="rId5" Type="http://schemas.openxmlformats.org/officeDocument/2006/relationships/slideLayout" Target="../slideLayouts/slideLayout3.xml"/><Relationship Id="rId15" Type="http://schemas.openxmlformats.org/officeDocument/2006/relationships/diagramLayout" Target="../diagrams/layout18.xml"/><Relationship Id="rId10" Type="http://schemas.openxmlformats.org/officeDocument/2006/relationships/diagramLayout" Target="../diagrams/layout17.xml"/><Relationship Id="rId4" Type="http://schemas.openxmlformats.org/officeDocument/2006/relationships/tags" Target="../tags/tag44.xml"/><Relationship Id="rId9" Type="http://schemas.openxmlformats.org/officeDocument/2006/relationships/diagramData" Target="../diagrams/data17.xml"/><Relationship Id="rId14" Type="http://schemas.openxmlformats.org/officeDocument/2006/relationships/diagramData" Target="../diagrams/data1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19.xml"/><Relationship Id="rId18" Type="http://schemas.microsoft.com/office/2007/relationships/diagramDrawing" Target="../diagrams/drawing20.xml"/><Relationship Id="rId3" Type="http://schemas.openxmlformats.org/officeDocument/2006/relationships/tags" Target="../tags/tag46.xml"/><Relationship Id="rId7" Type="http://schemas.openxmlformats.org/officeDocument/2006/relationships/oleObject" Target="../embeddings/oleObject14.bin"/><Relationship Id="rId12" Type="http://schemas.openxmlformats.org/officeDocument/2006/relationships/diagramColors" Target="../diagrams/colors19.xml"/><Relationship Id="rId17" Type="http://schemas.openxmlformats.org/officeDocument/2006/relationships/diagramColors" Target="../diagrams/colors20.xml"/><Relationship Id="rId2" Type="http://schemas.openxmlformats.org/officeDocument/2006/relationships/tags" Target="../tags/tag45.xml"/><Relationship Id="rId16" Type="http://schemas.openxmlformats.org/officeDocument/2006/relationships/diagramQuickStyle" Target="../diagrams/quickStyle20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6.xml"/><Relationship Id="rId11" Type="http://schemas.openxmlformats.org/officeDocument/2006/relationships/diagramQuickStyle" Target="../diagrams/quickStyle19.xml"/><Relationship Id="rId5" Type="http://schemas.openxmlformats.org/officeDocument/2006/relationships/slideLayout" Target="../slideLayouts/slideLayout3.xml"/><Relationship Id="rId15" Type="http://schemas.openxmlformats.org/officeDocument/2006/relationships/diagramLayout" Target="../diagrams/layout20.xml"/><Relationship Id="rId10" Type="http://schemas.openxmlformats.org/officeDocument/2006/relationships/diagramLayout" Target="../diagrams/layout19.xml"/><Relationship Id="rId4" Type="http://schemas.openxmlformats.org/officeDocument/2006/relationships/tags" Target="../tags/tag47.xml"/><Relationship Id="rId9" Type="http://schemas.openxmlformats.org/officeDocument/2006/relationships/diagramData" Target="../diagrams/data19.xml"/><Relationship Id="rId14" Type="http://schemas.openxmlformats.org/officeDocument/2006/relationships/diagramData" Target="../diagrams/data2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20.jpeg"/><Relationship Id="rId18" Type="http://schemas.openxmlformats.org/officeDocument/2006/relationships/diagramColors" Target="../diagrams/colors21.xml"/><Relationship Id="rId3" Type="http://schemas.openxmlformats.org/officeDocument/2006/relationships/tags" Target="../tags/tag49.xml"/><Relationship Id="rId7" Type="http://schemas.openxmlformats.org/officeDocument/2006/relationships/oleObject" Target="../embeddings/oleObject15.bin"/><Relationship Id="rId12" Type="http://schemas.openxmlformats.org/officeDocument/2006/relationships/image" Target="../media/image19.jpeg"/><Relationship Id="rId17" Type="http://schemas.openxmlformats.org/officeDocument/2006/relationships/diagramQuickStyle" Target="../diagrams/quickStyle21.xml"/><Relationship Id="rId2" Type="http://schemas.openxmlformats.org/officeDocument/2006/relationships/tags" Target="../tags/tag48.xml"/><Relationship Id="rId16" Type="http://schemas.openxmlformats.org/officeDocument/2006/relationships/diagramLayout" Target="../diagrams/layout21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7.xml"/><Relationship Id="rId11" Type="http://schemas.openxmlformats.org/officeDocument/2006/relationships/image" Target="../media/image18.gif"/><Relationship Id="rId5" Type="http://schemas.openxmlformats.org/officeDocument/2006/relationships/slideLayout" Target="../slideLayouts/slideLayout3.xml"/><Relationship Id="rId15" Type="http://schemas.openxmlformats.org/officeDocument/2006/relationships/diagramData" Target="../diagrams/data21.xml"/><Relationship Id="rId10" Type="http://schemas.openxmlformats.org/officeDocument/2006/relationships/image" Target="../media/image17.jpeg"/><Relationship Id="rId19" Type="http://schemas.microsoft.com/office/2007/relationships/diagramDrawing" Target="../diagrams/drawing21.xml"/><Relationship Id="rId4" Type="http://schemas.openxmlformats.org/officeDocument/2006/relationships/tags" Target="../tags/tag50.xml"/><Relationship Id="rId9" Type="http://schemas.openxmlformats.org/officeDocument/2006/relationships/image" Target="../media/image16.jpeg"/><Relationship Id="rId14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22.xml"/><Relationship Id="rId3" Type="http://schemas.openxmlformats.org/officeDocument/2006/relationships/tags" Target="../tags/tag52.xml"/><Relationship Id="rId7" Type="http://schemas.openxmlformats.org/officeDocument/2006/relationships/oleObject" Target="../embeddings/oleObject16.bin"/><Relationship Id="rId12" Type="http://schemas.openxmlformats.org/officeDocument/2006/relationships/diagramColors" Target="../diagrams/colors2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8.xml"/><Relationship Id="rId11" Type="http://schemas.openxmlformats.org/officeDocument/2006/relationships/diagramQuickStyle" Target="../diagrams/quickStyle22.xml"/><Relationship Id="rId5" Type="http://schemas.openxmlformats.org/officeDocument/2006/relationships/slideLayout" Target="../slideLayouts/slideLayout3.xml"/><Relationship Id="rId10" Type="http://schemas.openxmlformats.org/officeDocument/2006/relationships/diagramLayout" Target="../diagrams/layout22.xml"/><Relationship Id="rId4" Type="http://schemas.openxmlformats.org/officeDocument/2006/relationships/tags" Target="../tags/tag53.xml"/><Relationship Id="rId9" Type="http://schemas.openxmlformats.org/officeDocument/2006/relationships/diagramData" Target="../diagrams/data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6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1.xml"/><Relationship Id="rId18" Type="http://schemas.microsoft.com/office/2007/relationships/diagramDrawing" Target="../diagrams/drawing2.xml"/><Relationship Id="rId3" Type="http://schemas.openxmlformats.org/officeDocument/2006/relationships/tags" Target="../tags/tag9.xml"/><Relationship Id="rId7" Type="http://schemas.openxmlformats.org/officeDocument/2006/relationships/oleObject" Target="../embeddings/oleObject1.bin"/><Relationship Id="rId12" Type="http://schemas.openxmlformats.org/officeDocument/2006/relationships/diagramColors" Target="../diagrams/colors1.xml"/><Relationship Id="rId17" Type="http://schemas.openxmlformats.org/officeDocument/2006/relationships/diagramColors" Target="../diagrams/colors2.xml"/><Relationship Id="rId2" Type="http://schemas.openxmlformats.org/officeDocument/2006/relationships/tags" Target="../tags/tag8.xml"/><Relationship Id="rId16" Type="http://schemas.openxmlformats.org/officeDocument/2006/relationships/diagramQuickStyle" Target="../diagrams/quickStyle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3.xml"/><Relationship Id="rId11" Type="http://schemas.openxmlformats.org/officeDocument/2006/relationships/diagramQuickStyle" Target="../diagrams/quickStyle1.xml"/><Relationship Id="rId5" Type="http://schemas.openxmlformats.org/officeDocument/2006/relationships/slideLayout" Target="../slideLayouts/slideLayout3.xml"/><Relationship Id="rId15" Type="http://schemas.openxmlformats.org/officeDocument/2006/relationships/diagramLayout" Target="../diagrams/layout2.xml"/><Relationship Id="rId10" Type="http://schemas.openxmlformats.org/officeDocument/2006/relationships/diagramLayout" Target="../diagrams/layout1.xml"/><Relationship Id="rId4" Type="http://schemas.openxmlformats.org/officeDocument/2006/relationships/tags" Target="../tags/tag10.xml"/><Relationship Id="rId9" Type="http://schemas.openxmlformats.org/officeDocument/2006/relationships/diagramData" Target="../diagrams/data1.xml"/><Relationship Id="rId14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tags" Target="../tags/tag12.xml"/><Relationship Id="rId7" Type="http://schemas.openxmlformats.org/officeDocument/2006/relationships/image" Target="../media/image8.emf"/><Relationship Id="rId12" Type="http://schemas.microsoft.com/office/2007/relationships/diagramDrawing" Target="../diagrams/drawing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diagramColors" Target="../diagrams/colors3.xml"/><Relationship Id="rId5" Type="http://schemas.openxmlformats.org/officeDocument/2006/relationships/notesSlide" Target="../notesSlides/notesSlide4.xml"/><Relationship Id="rId10" Type="http://schemas.openxmlformats.org/officeDocument/2006/relationships/diagramQuickStyle" Target="../diagrams/quickStyle3.xml"/><Relationship Id="rId4" Type="http://schemas.openxmlformats.org/officeDocument/2006/relationships/slideLayout" Target="../slideLayouts/slideLayout3.xml"/><Relationship Id="rId9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4.xml"/><Relationship Id="rId18" Type="http://schemas.microsoft.com/office/2007/relationships/diagramDrawing" Target="../diagrams/drawing5.xml"/><Relationship Id="rId3" Type="http://schemas.openxmlformats.org/officeDocument/2006/relationships/tags" Target="../tags/tag14.xml"/><Relationship Id="rId7" Type="http://schemas.openxmlformats.org/officeDocument/2006/relationships/oleObject" Target="../embeddings/oleObject3.bin"/><Relationship Id="rId12" Type="http://schemas.openxmlformats.org/officeDocument/2006/relationships/diagramColors" Target="../diagrams/colors4.xml"/><Relationship Id="rId17" Type="http://schemas.openxmlformats.org/officeDocument/2006/relationships/diagramColors" Target="../diagrams/colors5.xml"/><Relationship Id="rId2" Type="http://schemas.openxmlformats.org/officeDocument/2006/relationships/tags" Target="../tags/tag13.xml"/><Relationship Id="rId16" Type="http://schemas.openxmlformats.org/officeDocument/2006/relationships/diagramQuickStyle" Target="../diagrams/quickStyle5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5.xml"/><Relationship Id="rId11" Type="http://schemas.openxmlformats.org/officeDocument/2006/relationships/diagramQuickStyle" Target="../diagrams/quickStyle4.xml"/><Relationship Id="rId5" Type="http://schemas.openxmlformats.org/officeDocument/2006/relationships/slideLayout" Target="../slideLayouts/slideLayout3.xml"/><Relationship Id="rId15" Type="http://schemas.openxmlformats.org/officeDocument/2006/relationships/diagramLayout" Target="../diagrams/layout5.xml"/><Relationship Id="rId10" Type="http://schemas.openxmlformats.org/officeDocument/2006/relationships/diagramLayout" Target="../diagrams/layout4.xml"/><Relationship Id="rId4" Type="http://schemas.openxmlformats.org/officeDocument/2006/relationships/tags" Target="../tags/tag15.xml"/><Relationship Id="rId9" Type="http://schemas.openxmlformats.org/officeDocument/2006/relationships/diagramData" Target="../diagrams/data4.xml"/><Relationship Id="rId14" Type="http://schemas.openxmlformats.org/officeDocument/2006/relationships/diagramData" Target="../diagrams/data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6.xml"/><Relationship Id="rId3" Type="http://schemas.openxmlformats.org/officeDocument/2006/relationships/tags" Target="../tags/tag17.xml"/><Relationship Id="rId7" Type="http://schemas.openxmlformats.org/officeDocument/2006/relationships/oleObject" Target="../embeddings/oleObject4.bin"/><Relationship Id="rId12" Type="http://schemas.openxmlformats.org/officeDocument/2006/relationships/diagramColors" Target="../diagrams/colors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6.xml"/><Relationship Id="rId11" Type="http://schemas.openxmlformats.org/officeDocument/2006/relationships/diagramQuickStyle" Target="../diagrams/quickStyle6.xml"/><Relationship Id="rId5" Type="http://schemas.openxmlformats.org/officeDocument/2006/relationships/slideLayout" Target="../slideLayouts/slideLayout3.xml"/><Relationship Id="rId10" Type="http://schemas.openxmlformats.org/officeDocument/2006/relationships/diagramLayout" Target="../diagrams/layout6.xml"/><Relationship Id="rId4" Type="http://schemas.openxmlformats.org/officeDocument/2006/relationships/tags" Target="../tags/tag18.xml"/><Relationship Id="rId9" Type="http://schemas.openxmlformats.org/officeDocument/2006/relationships/diagramData" Target="../diagrams/data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7.xml"/><Relationship Id="rId3" Type="http://schemas.openxmlformats.org/officeDocument/2006/relationships/tags" Target="../tags/tag20.xml"/><Relationship Id="rId7" Type="http://schemas.openxmlformats.org/officeDocument/2006/relationships/oleObject" Target="../embeddings/oleObject5.bin"/><Relationship Id="rId12" Type="http://schemas.openxmlformats.org/officeDocument/2006/relationships/diagramColors" Target="../diagrams/colors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7.xml"/><Relationship Id="rId11" Type="http://schemas.openxmlformats.org/officeDocument/2006/relationships/diagramQuickStyle" Target="../diagrams/quickStyle7.xml"/><Relationship Id="rId5" Type="http://schemas.openxmlformats.org/officeDocument/2006/relationships/slideLayout" Target="../slideLayouts/slideLayout3.xml"/><Relationship Id="rId10" Type="http://schemas.openxmlformats.org/officeDocument/2006/relationships/diagramLayout" Target="../diagrams/layout7.xml"/><Relationship Id="rId4" Type="http://schemas.openxmlformats.org/officeDocument/2006/relationships/tags" Target="../tags/tag21.xml"/><Relationship Id="rId9" Type="http://schemas.openxmlformats.org/officeDocument/2006/relationships/diagramData" Target="../diagrams/data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8.xml"/><Relationship Id="rId3" Type="http://schemas.openxmlformats.org/officeDocument/2006/relationships/tags" Target="../tags/tag23.xml"/><Relationship Id="rId7" Type="http://schemas.openxmlformats.org/officeDocument/2006/relationships/oleObject" Target="../embeddings/oleObject6.bin"/><Relationship Id="rId12" Type="http://schemas.openxmlformats.org/officeDocument/2006/relationships/diagramColors" Target="../diagrams/colors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8.xml"/><Relationship Id="rId11" Type="http://schemas.openxmlformats.org/officeDocument/2006/relationships/diagramQuickStyle" Target="../diagrams/quickStyle8.xml"/><Relationship Id="rId5" Type="http://schemas.openxmlformats.org/officeDocument/2006/relationships/slideLayout" Target="../slideLayouts/slideLayout3.xml"/><Relationship Id="rId10" Type="http://schemas.openxmlformats.org/officeDocument/2006/relationships/diagramLayout" Target="../diagrams/layout8.xml"/><Relationship Id="rId4" Type="http://schemas.openxmlformats.org/officeDocument/2006/relationships/tags" Target="../tags/tag24.xml"/><Relationship Id="rId9" Type="http://schemas.openxmlformats.org/officeDocument/2006/relationships/diagramData" Target="../diagrams/data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microsoft.com/office/2007/relationships/diagramDrawing" Target="../diagrams/drawing9.xml"/><Relationship Id="rId3" Type="http://schemas.openxmlformats.org/officeDocument/2006/relationships/tags" Target="../tags/tag26.xml"/><Relationship Id="rId7" Type="http://schemas.openxmlformats.org/officeDocument/2006/relationships/oleObject" Target="../embeddings/oleObject7.bin"/><Relationship Id="rId12" Type="http://schemas.openxmlformats.org/officeDocument/2006/relationships/diagramColors" Target="../diagrams/colors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9.xml"/><Relationship Id="rId11" Type="http://schemas.openxmlformats.org/officeDocument/2006/relationships/diagramQuickStyle" Target="../diagrams/quickStyle9.xml"/><Relationship Id="rId5" Type="http://schemas.openxmlformats.org/officeDocument/2006/relationships/slideLayout" Target="../slideLayouts/slideLayout3.xml"/><Relationship Id="rId10" Type="http://schemas.openxmlformats.org/officeDocument/2006/relationships/diagramLayout" Target="../diagrams/layout9.xml"/><Relationship Id="rId4" Type="http://schemas.openxmlformats.org/officeDocument/2006/relationships/tags" Target="../tags/tag27.xml"/><Relationship Id="rId9" Type="http://schemas.openxmlformats.org/officeDocument/2006/relationships/diagramData" Target="../diagrams/data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>
            <a:extLst>
              <a:ext uri="{FF2B5EF4-FFF2-40B4-BE49-F238E27FC236}">
                <a16:creationId xmlns:a16="http://schemas.microsoft.com/office/drawing/2014/main" xmlns="" id="{67DD1941-2F92-4DD0-9EF9-ACE0684622C3}"/>
              </a:ext>
            </a:extLst>
          </p:cNvPr>
          <p:cNvSpPr txBox="1">
            <a:spLocks/>
          </p:cNvSpPr>
          <p:nvPr/>
        </p:nvSpPr>
        <p:spPr>
          <a:xfrm>
            <a:off x="901700" y="3104357"/>
            <a:ext cx="7340600" cy="649287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  <a:defRPr/>
            </a:pPr>
            <a:r>
              <a:rPr lang="fr-FR" sz="2600" dirty="0">
                <a:latin typeface="Gill Sans MT" panose="020B0502020104020203" pitchFamily="34" charset="0"/>
              </a:rPr>
              <a:t>Coaching d'équipe </a:t>
            </a:r>
          </a:p>
        </p:txBody>
      </p:sp>
      <p:sp>
        <p:nvSpPr>
          <p:cNvPr id="6147" name="TextBox 2"/>
          <p:cNvSpPr txBox="1">
            <a:spLocks noChangeArrowheads="1"/>
          </p:cNvSpPr>
          <p:nvPr/>
        </p:nvSpPr>
        <p:spPr bwMode="auto">
          <a:xfrm>
            <a:off x="2243138" y="4057650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en-US" altLang="en-US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4588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 coaching de maintenance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7" name="Rectangle à coins arrondis 6"/>
          <p:cNvSpPr/>
          <p:nvPr/>
        </p:nvSpPr>
        <p:spPr>
          <a:xfrm>
            <a:off x="304225" y="2340960"/>
            <a:ext cx="1388445" cy="1224136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Objectifs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8" name="Rectangle à coins arrondis 7"/>
          <p:cNvSpPr/>
          <p:nvPr/>
        </p:nvSpPr>
        <p:spPr>
          <a:xfrm>
            <a:off x="1847460" y="2340960"/>
            <a:ext cx="5924939" cy="1224136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Lui faire développer sa créativité 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Lui permettre d’acquérir sans cesse de nouvelles capacités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Enrichir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sa capacité de progression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Le rendre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autonome sûre et fière de ses choix</a:t>
            </a:r>
            <a:endPara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9" name="Rectangle à coins arrondis 8"/>
          <p:cNvSpPr/>
          <p:nvPr/>
        </p:nvSpPr>
        <p:spPr>
          <a:xfrm>
            <a:off x="1847460" y="1476864"/>
            <a:ext cx="5924939" cy="720080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Lorsque le collaborateur souhaite maintenir et solidifier ses performances actuelles.</a:t>
            </a:r>
            <a:endPara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0" name="Rectangle à coins arrondis 9"/>
          <p:cNvSpPr/>
          <p:nvPr/>
        </p:nvSpPr>
        <p:spPr>
          <a:xfrm>
            <a:off x="304225" y="1476864"/>
            <a:ext cx="1388445" cy="720080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Quand ?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304225" y="3709112"/>
            <a:ext cx="1388445" cy="1152128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Comment ?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1847460" y="3709112"/>
            <a:ext cx="5924939" cy="1152128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Le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faire réfléchir sur ses propres valeurs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Avoir un comportement adapté à chaque situation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Lui apprendre à prendre de la distance, à prendre le temps de l’analyse et de la réflexion</a:t>
            </a:r>
            <a:endPara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04225" y="5005256"/>
            <a:ext cx="1388445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Votre rôle…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4" name="Rectangle à coins arrondis 13"/>
          <p:cNvSpPr/>
          <p:nvPr/>
        </p:nvSpPr>
        <p:spPr>
          <a:xfrm>
            <a:off x="1847460" y="5005256"/>
            <a:ext cx="5924939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L’aider à enrichir cette phase plateau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L’encourager dans ces démarches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Etablir un suivi et rester à l’écoute</a:t>
            </a:r>
          </a:p>
        </p:txBody>
      </p:sp>
      <p:graphicFrame>
        <p:nvGraphicFramePr>
          <p:cNvPr id="16" name="Diagramme 15"/>
          <p:cNvGraphicFramePr/>
          <p:nvPr>
            <p:extLst>
              <p:ext uri="{D42A27DB-BD31-4B8C-83A1-F6EECF244321}">
                <p14:modId xmlns:p14="http://schemas.microsoft.com/office/powerpoint/2010/main" val="1347955777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7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</a:t>
            </a:r>
            <a:r>
              <a:rPr lang="fr-FR" b="1" dirty="0" smtClean="0">
                <a:solidFill>
                  <a:srgbClr val="C2113A"/>
                </a:solidFill>
              </a:rPr>
              <a:t>PROFESSIONNEL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62102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6735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s étapes du coaching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12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</a:t>
            </a:r>
            <a:r>
              <a:rPr lang="fr-FR" b="1" dirty="0" smtClean="0">
                <a:solidFill>
                  <a:srgbClr val="C2113A"/>
                </a:solidFill>
              </a:rPr>
              <a:t>PROFESSIONNEL</a:t>
            </a:r>
            <a:endParaRPr lang="fr-FR" b="1" dirty="0">
              <a:solidFill>
                <a:srgbClr val="C2113A"/>
              </a:solidFill>
            </a:endParaRPr>
          </a:p>
        </p:txBody>
      </p:sp>
      <p:pic>
        <p:nvPicPr>
          <p:cNvPr id="19" name="Image 18" descr="accompagnement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156176" y="3933056"/>
            <a:ext cx="1723691" cy="1800200"/>
          </a:xfrm>
          <a:prstGeom prst="rect">
            <a:avLst/>
          </a:prstGeom>
        </p:spPr>
      </p:pic>
      <p:pic>
        <p:nvPicPr>
          <p:cNvPr id="9" name="Image 8" descr="Face à face.PETIT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716016" y="4797152"/>
            <a:ext cx="1296144" cy="1296144"/>
          </a:xfrm>
          <a:prstGeom prst="rect">
            <a:avLst/>
          </a:prstGeom>
        </p:spPr>
      </p:pic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2334665727"/>
              </p:ext>
            </p:extLst>
          </p:nvPr>
        </p:nvGraphicFramePr>
        <p:xfrm>
          <a:off x="611560" y="980729"/>
          <a:ext cx="6984776" cy="396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1</a:t>
            </a:fld>
            <a:endParaRPr lang="fr-FR"/>
          </a:p>
        </p:txBody>
      </p:sp>
      <p:pic>
        <p:nvPicPr>
          <p:cNvPr id="6" name="Image 5" descr="8093801-politique-serrant-la-main-pour-accord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1043608" y="4437112"/>
            <a:ext cx="1656184" cy="1387054"/>
          </a:xfrm>
          <a:prstGeom prst="rect">
            <a:avLst/>
          </a:prstGeom>
        </p:spPr>
      </p:pic>
      <p:pic>
        <p:nvPicPr>
          <p:cNvPr id="10" name="Image 9" descr="cible-marketing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3059832" y="4437112"/>
            <a:ext cx="1296144" cy="1227017"/>
          </a:xfrm>
          <a:prstGeom prst="rect">
            <a:avLst/>
          </a:prstGeom>
        </p:spPr>
      </p:pic>
      <p:graphicFrame>
        <p:nvGraphicFramePr>
          <p:cNvPr id="11" name="Diagramme 10"/>
          <p:cNvGraphicFramePr/>
          <p:nvPr>
            <p:extLst>
              <p:ext uri="{D42A27DB-BD31-4B8C-83A1-F6EECF244321}">
                <p14:modId xmlns:p14="http://schemas.microsoft.com/office/powerpoint/2010/main" val="2652282730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41659386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7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7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68023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s savoir-être du manager/coach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2</a:t>
            </a:fld>
            <a:endParaRPr lang="fr-FR"/>
          </a:p>
        </p:txBody>
      </p:sp>
      <p:grpSp>
        <p:nvGrpSpPr>
          <p:cNvPr id="30" name="Groupe 29"/>
          <p:cNvGrpSpPr/>
          <p:nvPr/>
        </p:nvGrpSpPr>
        <p:grpSpPr>
          <a:xfrm>
            <a:off x="158750" y="1080852"/>
            <a:ext cx="7471414" cy="4984328"/>
            <a:chOff x="0" y="1005089"/>
            <a:chExt cx="9098474" cy="5056336"/>
          </a:xfrm>
        </p:grpSpPr>
        <p:graphicFrame>
          <p:nvGraphicFramePr>
            <p:cNvPr id="13" name="Diagramme 12"/>
            <p:cNvGraphicFramePr/>
            <p:nvPr>
              <p:extLst>
                <p:ext uri="{D42A27DB-BD31-4B8C-83A1-F6EECF244321}">
                  <p14:modId xmlns:p14="http://schemas.microsoft.com/office/powerpoint/2010/main" val="1715996777"/>
                </p:ext>
              </p:extLst>
            </p:nvPr>
          </p:nvGraphicFramePr>
          <p:xfrm>
            <a:off x="643381" y="1005089"/>
            <a:ext cx="7200800" cy="505633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sp>
          <p:nvSpPr>
            <p:cNvPr id="14" name="Rectangle 13"/>
            <p:cNvSpPr/>
            <p:nvPr/>
          </p:nvSpPr>
          <p:spPr>
            <a:xfrm>
              <a:off x="1433598" y="2342001"/>
              <a:ext cx="1474131" cy="3746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fr-FR" b="1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l’empathie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219211" y="2342001"/>
              <a:ext cx="1948178" cy="3746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fr-FR" b="1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la disponibilité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911514" y="4555933"/>
              <a:ext cx="1887009" cy="3746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fr-FR" b="1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communiquer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13944" y="4548328"/>
              <a:ext cx="1382380" cy="3746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fr-FR" b="1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conseiller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673529" y="3326823"/>
              <a:ext cx="1749383" cy="3746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fr-FR" b="1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l’adaptabilité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92358" y="3326823"/>
              <a:ext cx="2162263" cy="3746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fr-FR" b="1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la méthodologie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0" y="5445224"/>
              <a:ext cx="1627049" cy="3746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fr-FR" b="1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l</a:t>
              </a:r>
              <a:r>
                <a:rPr lang="fr-FR" b="1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e charisme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997379" y="5432513"/>
              <a:ext cx="2101095" cy="37466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fr-FR" b="1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l</a:t>
              </a:r>
              <a:r>
                <a:rPr lang="fr-FR" b="1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e pragmatisme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</p:grpSp>
      <p:graphicFrame>
        <p:nvGraphicFramePr>
          <p:cNvPr id="31" name="Diagramme 30"/>
          <p:cNvGraphicFramePr/>
          <p:nvPr>
            <p:extLst>
              <p:ext uri="{D42A27DB-BD31-4B8C-83A1-F6EECF244321}">
                <p14:modId xmlns:p14="http://schemas.microsoft.com/office/powerpoint/2010/main" val="945266088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7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</a:t>
            </a:r>
            <a:r>
              <a:rPr lang="fr-FR" b="1" dirty="0" smtClean="0">
                <a:solidFill>
                  <a:srgbClr val="C2113A"/>
                </a:solidFill>
              </a:rPr>
              <a:t>PROFESSIONNEL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854988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22840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s savoir-faire du manager/coach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3</a:t>
            </a:fld>
            <a:endParaRPr lang="fr-FR"/>
          </a:p>
        </p:txBody>
      </p:sp>
      <p:graphicFrame>
        <p:nvGraphicFramePr>
          <p:cNvPr id="7" name="Diagramme 6"/>
          <p:cNvGraphicFramePr/>
          <p:nvPr>
            <p:extLst>
              <p:ext uri="{D42A27DB-BD31-4B8C-83A1-F6EECF244321}">
                <p14:modId xmlns:p14="http://schemas.microsoft.com/office/powerpoint/2010/main" val="3679164057"/>
              </p:ext>
            </p:extLst>
          </p:nvPr>
        </p:nvGraphicFramePr>
        <p:xfrm>
          <a:off x="251520" y="1492897"/>
          <a:ext cx="7539541" cy="43283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6" name="Diagramme 5"/>
          <p:cNvGraphicFramePr/>
          <p:nvPr>
            <p:extLst>
              <p:ext uri="{D42A27DB-BD31-4B8C-83A1-F6EECF244321}">
                <p14:modId xmlns:p14="http://schemas.microsoft.com/office/powerpoint/2010/main" val="2076969758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8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 smtClean="0">
                <a:solidFill>
                  <a:srgbClr val="C2113A"/>
                </a:solidFill>
              </a:rPr>
              <a:t>PHASE 2 : ETRE UN MANAGER COACH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177703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1202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Diapositive think-cell" r:id="rId6" imgW="425" imgH="426" progId="TCLayout.ActiveDocument.1">
                  <p:embed/>
                </p:oleObj>
              </mc:Choice>
              <mc:Fallback>
                <p:oleObj name="Diapositive think-cell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Métacommuniquer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4</a:t>
            </a:fld>
            <a:endParaRPr lang="fr-FR" dirty="0"/>
          </a:p>
        </p:txBody>
      </p:sp>
      <p:pic>
        <p:nvPicPr>
          <p:cNvPr id="5" name="Picture 9" descr="méta communication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588125" y="2205038"/>
            <a:ext cx="2417763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0" descr="méta communication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5536" y="2132856"/>
            <a:ext cx="2832100" cy="372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11"/>
          <p:cNvSpPr>
            <a:spLocks noChangeArrowheads="1"/>
          </p:cNvSpPr>
          <p:nvPr/>
        </p:nvSpPr>
        <p:spPr bwMode="auto">
          <a:xfrm>
            <a:off x="2771801" y="3429000"/>
            <a:ext cx="1728192" cy="647700"/>
          </a:xfrm>
          <a:prstGeom prst="rightArrow">
            <a:avLst>
              <a:gd name="adj1" fmla="val 46565"/>
              <a:gd name="adj2" fmla="val 103018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fr-FR" dirty="0" smtClean="0">
                <a:latin typeface="Gill Sans" panose="020B0604020202020204"/>
              </a:rPr>
              <a:t>Discours </a:t>
            </a:r>
            <a:r>
              <a:rPr lang="fr-FR" dirty="0">
                <a:latin typeface="Gill Sans" panose="020B0604020202020204"/>
              </a:rPr>
              <a:t>1</a:t>
            </a:r>
          </a:p>
        </p:txBody>
      </p:sp>
      <p:sp>
        <p:nvSpPr>
          <p:cNvPr id="8" name="AutoShape 12"/>
          <p:cNvSpPr>
            <a:spLocks noChangeArrowheads="1"/>
          </p:cNvSpPr>
          <p:nvPr/>
        </p:nvSpPr>
        <p:spPr bwMode="auto">
          <a:xfrm rot="10800000">
            <a:off x="5508104" y="3429000"/>
            <a:ext cx="1798638" cy="647700"/>
          </a:xfrm>
          <a:prstGeom prst="rightArrow">
            <a:avLst>
              <a:gd name="adj1" fmla="val 50000"/>
              <a:gd name="adj2" fmla="val 101873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10800000" wrap="none" anchor="ctr"/>
          <a:lstStyle/>
          <a:p>
            <a:pPr algn="ctr"/>
            <a:r>
              <a:rPr lang="fr-FR" dirty="0" smtClean="0">
                <a:latin typeface="Gill Sans" panose="020B0604020202020204"/>
              </a:rPr>
              <a:t>Discours 2</a:t>
            </a:r>
            <a:endParaRPr lang="fr-FR" dirty="0">
              <a:latin typeface="Gill Sans" panose="020B0604020202020204"/>
            </a:endParaRPr>
          </a:p>
        </p:txBody>
      </p:sp>
      <p:sp>
        <p:nvSpPr>
          <p:cNvPr id="9" name="AutoShape 13"/>
          <p:cNvSpPr>
            <a:spLocks noChangeArrowheads="1"/>
          </p:cNvSpPr>
          <p:nvPr/>
        </p:nvSpPr>
        <p:spPr bwMode="auto">
          <a:xfrm>
            <a:off x="2843808" y="4653136"/>
            <a:ext cx="3743201" cy="647700"/>
          </a:xfrm>
          <a:prstGeom prst="leftRightArrow">
            <a:avLst>
              <a:gd name="adj1" fmla="val 50000"/>
              <a:gd name="adj2" fmla="val 98766"/>
            </a:avLst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fr-FR" dirty="0" smtClean="0">
                <a:latin typeface="Gill Sans" panose="020B0604020202020204"/>
              </a:rPr>
              <a:t>     </a:t>
            </a:r>
            <a:r>
              <a:rPr lang="fr-FR" sz="2000" b="1" dirty="0" smtClean="0">
                <a:latin typeface="Gill Sans" panose="020B0604020202020204"/>
              </a:rPr>
              <a:t>ECHANGE</a:t>
            </a:r>
            <a:endParaRPr lang="fr-FR" b="1" dirty="0">
              <a:latin typeface="Gill Sans" panose="020B0604020202020204"/>
            </a:endParaRPr>
          </a:p>
        </p:txBody>
      </p:sp>
      <p:sp>
        <p:nvSpPr>
          <p:cNvPr id="10" name="AutoShape 14"/>
          <p:cNvSpPr>
            <a:spLocks noChangeArrowheads="1"/>
          </p:cNvSpPr>
          <p:nvPr/>
        </p:nvSpPr>
        <p:spPr bwMode="auto">
          <a:xfrm>
            <a:off x="2339752" y="2348880"/>
            <a:ext cx="5111750" cy="718170"/>
          </a:xfrm>
          <a:custGeom>
            <a:avLst/>
            <a:gdLst>
              <a:gd name="G0" fmla="+- 17630 0 0"/>
              <a:gd name="G1" fmla="+- 5400 0 0"/>
              <a:gd name="G2" fmla="+- 21600 0 5400"/>
              <a:gd name="G3" fmla="+- 10800 0 5400"/>
              <a:gd name="G4" fmla="+- 21600 0 17630"/>
              <a:gd name="G5" fmla="*/ G4 G3 10800"/>
              <a:gd name="G6" fmla="+- 21600 0 G5"/>
              <a:gd name="T0" fmla="*/ 17630 w 21600"/>
              <a:gd name="T1" fmla="*/ 0 h 21600"/>
              <a:gd name="T2" fmla="*/ 0 w 21600"/>
              <a:gd name="T3" fmla="*/ 10800 h 21600"/>
              <a:gd name="T4" fmla="*/ 17630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7630" y="0"/>
                </a:moveTo>
                <a:lnTo>
                  <a:pt x="1763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7630" y="16200"/>
                </a:lnTo>
                <a:lnTo>
                  <a:pt x="1763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fr-FR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ill Sans" panose="020B0604020202020204"/>
              </a:rPr>
              <a:t>CLARIFICATION</a:t>
            </a:r>
            <a:endParaRPr lang="fr-FR" sz="28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ill Sans" panose="020B0604020202020204"/>
            </a:endParaRPr>
          </a:p>
        </p:txBody>
      </p: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4860032" y="4077072"/>
            <a:ext cx="0" cy="576263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fr-FR" dirty="0">
              <a:latin typeface="Gill Sans" panose="020B0604020202020204"/>
            </a:endParaRPr>
          </a:p>
        </p:txBody>
      </p:sp>
      <p:sp>
        <p:nvSpPr>
          <p:cNvPr id="14" name="Éclair 13"/>
          <p:cNvSpPr/>
          <p:nvPr/>
        </p:nvSpPr>
        <p:spPr>
          <a:xfrm>
            <a:off x="4572000" y="3212976"/>
            <a:ext cx="576064" cy="792088"/>
          </a:xfrm>
          <a:prstGeom prst="lightningBolt">
            <a:avLst/>
          </a:prstGeom>
          <a:solidFill>
            <a:srgbClr val="FFFF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Gill Sans" panose="020B0604020202020204"/>
            </a:endParaRPr>
          </a:p>
        </p:txBody>
      </p:sp>
      <p:sp>
        <p:nvSpPr>
          <p:cNvPr id="13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 smtClean="0">
                <a:solidFill>
                  <a:srgbClr val="C2113A"/>
                </a:solidFill>
              </a:rPr>
              <a:t>PHASE 2 : ETRE UN MANAGER COACH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747012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4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2" grpId="0" animBg="1"/>
      <p:bldP spid="12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348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s risques pour le coaché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5</a:t>
            </a:fld>
            <a:endParaRPr lang="fr-FR" dirty="0"/>
          </a:p>
        </p:txBody>
      </p:sp>
      <p:graphicFrame>
        <p:nvGraphicFramePr>
          <p:cNvPr id="9" name="Diagramme 8"/>
          <p:cNvGraphicFramePr/>
          <p:nvPr>
            <p:extLst>
              <p:ext uri="{D42A27DB-BD31-4B8C-83A1-F6EECF244321}">
                <p14:modId xmlns:p14="http://schemas.microsoft.com/office/powerpoint/2010/main" val="2044933434"/>
              </p:ext>
            </p:extLst>
          </p:nvPr>
        </p:nvGraphicFramePr>
        <p:xfrm>
          <a:off x="323528" y="1397000"/>
          <a:ext cx="7632848" cy="4768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2858288846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6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 smtClean="0">
                <a:solidFill>
                  <a:srgbClr val="C2113A"/>
                </a:solidFill>
              </a:rPr>
              <a:t>PHASE 2 : ETRE UN MANAGER COACH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90306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60879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s risques pour le manager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6</a:t>
            </a:fld>
            <a:endParaRPr lang="fr-FR" dirty="0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3885243280"/>
              </p:ext>
            </p:extLst>
          </p:nvPr>
        </p:nvGraphicFramePr>
        <p:xfrm>
          <a:off x="539552" y="1415058"/>
          <a:ext cx="6984776" cy="4424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6" name="Diagramme 5"/>
          <p:cNvGraphicFramePr/>
          <p:nvPr>
            <p:extLst>
              <p:ext uri="{D42A27DB-BD31-4B8C-83A1-F6EECF244321}">
                <p14:modId xmlns:p14="http://schemas.microsoft.com/office/powerpoint/2010/main" val="729096200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7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 smtClean="0">
                <a:solidFill>
                  <a:srgbClr val="C2113A"/>
                </a:solidFill>
              </a:rPr>
              <a:t>PHASE 2 : ETRE UN MANAGER COACH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76142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0675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Quand utiliser les méthodes de coaching ?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572182"/>
            <a:ext cx="7139136" cy="4389120"/>
          </a:xfrm>
        </p:spPr>
        <p:txBody>
          <a:bodyPr>
            <a:normAutofit fontScale="77500" lnSpcReduction="20000"/>
          </a:bodyPr>
          <a:lstStyle/>
          <a:p>
            <a:pPr>
              <a:buFont typeface="Arial" charset="0"/>
              <a:buNone/>
            </a:pPr>
            <a:r>
              <a:rPr lang="fr-FR" sz="22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Prise de nouvelles fonctions</a:t>
            </a:r>
          </a:p>
          <a:p>
            <a:pPr>
              <a:buFont typeface="Arial" charset="0"/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>
              <a:buFont typeface="Arial" charset="0"/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algn="r">
              <a:buFont typeface="Arial" charset="0"/>
              <a:buNone/>
            </a:pPr>
            <a:r>
              <a:rPr lang="fr-FR" sz="22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		    Dépassement d’un obstacle professionnel</a:t>
            </a:r>
          </a:p>
          <a:p>
            <a:pPr>
              <a:buFont typeface="Arial" charset="0"/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>
              <a:buFont typeface="Arial" charset="0"/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>
              <a:buFont typeface="Arial" charset="0"/>
              <a:buNone/>
            </a:pPr>
            <a:r>
              <a:rPr lang="fr-FR" sz="22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Conduite du changement</a:t>
            </a:r>
          </a:p>
          <a:p>
            <a:pPr>
              <a:buFont typeface="Arial" charset="0"/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>
              <a:buFont typeface="Arial" charset="0"/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marL="342900" indent="-342900" algn="ctr">
              <a:buNone/>
            </a:pPr>
            <a:r>
              <a:rPr lang="fr-FR" sz="22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                                     	Conflits managériaux ou crise sociale</a:t>
            </a:r>
          </a:p>
          <a:p>
            <a:pPr marL="342900" indent="-342900" algn="r"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marL="342900" indent="-342900"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marL="342900" indent="-342900">
              <a:buNone/>
            </a:pPr>
            <a:r>
              <a:rPr lang="fr-FR" sz="22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Développement personnel et professionnel</a:t>
            </a:r>
          </a:p>
          <a:p>
            <a:pPr marL="342900" indent="-342900"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marL="342900" indent="-342900">
              <a:buNone/>
            </a:pPr>
            <a:endParaRPr lang="fr-FR" sz="22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marL="342900" indent="-342900" algn="ctr">
              <a:buNone/>
            </a:pPr>
            <a:r>
              <a:rPr lang="fr-FR" sz="22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                                                  Gestion du stress et des émotions</a:t>
            </a:r>
          </a:p>
          <a:p>
            <a:endParaRPr lang="fr-FR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pic>
        <p:nvPicPr>
          <p:cNvPr id="5" name="Image 4" descr="serrage_main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923928" y="1337510"/>
            <a:ext cx="1368152" cy="888411"/>
          </a:xfrm>
          <a:prstGeom prst="rect">
            <a:avLst/>
          </a:prstGeom>
        </p:spPr>
      </p:pic>
      <p:pic>
        <p:nvPicPr>
          <p:cNvPr id="8" name="Image 7" descr="erreur-changement-de-lemploi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067944" y="2705662"/>
            <a:ext cx="1080120" cy="1080120"/>
          </a:xfrm>
          <a:prstGeom prst="rect">
            <a:avLst/>
          </a:prstGeom>
        </p:spPr>
      </p:pic>
      <p:pic>
        <p:nvPicPr>
          <p:cNvPr id="9" name="Image 8" descr="conflit.gif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259632" y="3497750"/>
            <a:ext cx="1662683" cy="871166"/>
          </a:xfrm>
          <a:prstGeom prst="rect">
            <a:avLst/>
          </a:prstGeom>
        </p:spPr>
      </p:pic>
      <p:pic>
        <p:nvPicPr>
          <p:cNvPr id="10" name="Image 9" descr="images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932040" y="4217830"/>
            <a:ext cx="1143571" cy="1143571"/>
          </a:xfrm>
          <a:prstGeom prst="rect">
            <a:avLst/>
          </a:prstGeom>
        </p:spPr>
      </p:pic>
      <p:pic>
        <p:nvPicPr>
          <p:cNvPr id="11" name="Image 10" descr="images.....jp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1259632" y="2037482"/>
            <a:ext cx="1512168" cy="1089902"/>
          </a:xfrm>
          <a:prstGeom prst="rect">
            <a:avLst/>
          </a:prstGeom>
        </p:spPr>
      </p:pic>
      <p:pic>
        <p:nvPicPr>
          <p:cNvPr id="12" name="Image 11" descr="Fotolia_981560_Subscription_XL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619672" y="4919248"/>
            <a:ext cx="1412776" cy="1412776"/>
          </a:xfrm>
          <a:prstGeom prst="rect">
            <a:avLst/>
          </a:prstGeom>
        </p:spPr>
      </p:pic>
      <p:graphicFrame>
        <p:nvGraphicFramePr>
          <p:cNvPr id="14" name="Diagramme 13"/>
          <p:cNvGraphicFramePr/>
          <p:nvPr>
            <p:extLst>
              <p:ext uri="{D42A27DB-BD31-4B8C-83A1-F6EECF244321}">
                <p14:modId xmlns:p14="http://schemas.microsoft.com/office/powerpoint/2010/main" val="130099894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sp>
        <p:nvSpPr>
          <p:cNvPr id="13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 smtClean="0">
                <a:solidFill>
                  <a:srgbClr val="C2113A"/>
                </a:solidFill>
              </a:rPr>
              <a:t>PHASE 2 : ETRE UN MANAGER COACH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327467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000"/>
                            </p:stCondLst>
                            <p:childTnLst>
                              <p:par>
                                <p:cTn id="4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0"/>
                            </p:stCondLst>
                            <p:childTnLst>
                              <p:par>
                                <p:cTn id="6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02646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8</a:t>
            </a:fld>
            <a:endParaRPr lang="fr-FR" dirty="0"/>
          </a:p>
        </p:txBody>
      </p:sp>
      <p:graphicFrame>
        <p:nvGraphicFramePr>
          <p:cNvPr id="6" name="Diagramme 5"/>
          <p:cNvGraphicFramePr/>
          <p:nvPr>
            <p:extLst>
              <p:ext uri="{D42A27DB-BD31-4B8C-83A1-F6EECF244321}">
                <p14:modId xmlns:p14="http://schemas.microsoft.com/office/powerpoint/2010/main" val="515647171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7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 smtClean="0">
                <a:solidFill>
                  <a:srgbClr val="C2113A"/>
                </a:solidFill>
              </a:rPr>
              <a:t>PHASE 2 : ETRE UN MANAGER COACH</a:t>
            </a:r>
            <a:endParaRPr lang="fr-FR" b="1" dirty="0">
              <a:solidFill>
                <a:srgbClr val="C2113A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04225" y="958850"/>
            <a:ext cx="8534400" cy="5334794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b="1" dirty="0" smtClean="0">
              <a:solidFill>
                <a:srgbClr val="17375E"/>
              </a:solidFill>
              <a:latin typeface="Gill Sans" panose="020B0604020202020204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 smtClean="0">
                <a:solidFill>
                  <a:srgbClr val="17375E"/>
                </a:solidFill>
                <a:latin typeface="Gill Sans" panose="020B0604020202020204"/>
              </a:rPr>
              <a:t>Le </a:t>
            </a: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Questionnement et la reformulation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a Reconnaissance (Positive)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a Reconnaissance (Négative)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e Recadrage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a Confrontation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’ Explicitation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’ Interprétation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a Permission et la protection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/>
              </a:rPr>
              <a:t>La Réorientation positive des erreurs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064994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b="1" dirty="0"/>
              <a:t>Le Questionnemen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sz="2400" dirty="0"/>
              <a:t>Nous allons poser deux grands types de questions </a:t>
            </a:r>
            <a:r>
              <a:rPr lang="fr-FR" sz="2400" dirty="0" smtClean="0"/>
              <a:t>:</a:t>
            </a:r>
          </a:p>
          <a:p>
            <a:endParaRPr lang="fr-FR" sz="2400" dirty="0"/>
          </a:p>
          <a:p>
            <a:r>
              <a:rPr lang="fr-FR" sz="2400" dirty="0" smtClean="0"/>
              <a:t>Des </a:t>
            </a:r>
            <a:r>
              <a:rPr lang="fr-FR" sz="2400" dirty="0"/>
              <a:t>questions pour “Recueillir des Informations Manquantes”,</a:t>
            </a:r>
          </a:p>
          <a:p>
            <a:r>
              <a:rPr lang="fr-FR" sz="2400" dirty="0"/>
              <a:t>D</a:t>
            </a:r>
            <a:r>
              <a:rPr lang="fr-FR" sz="2400" dirty="0" smtClean="0"/>
              <a:t>es </a:t>
            </a:r>
            <a:r>
              <a:rPr lang="fr-FR" sz="2400" dirty="0"/>
              <a:t>questions pour “Changer le Point de Vue”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19</a:t>
            </a:fld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4380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Présentation /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Objectif</a:t>
            </a:r>
            <a:endParaRPr lang="fr-FR" sz="1600" dirty="0" smtClean="0">
              <a:solidFill>
                <a:srgbClr val="17375E"/>
              </a:solidFill>
              <a:latin typeface="Gill Sans" panose="020B0604020202020204"/>
            </a:endParaRP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Phase 1 : Contexte du coaching professionnel</a:t>
            </a: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Définition du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coaching</a:t>
            </a:r>
            <a:endParaRPr lang="fr-FR" sz="1600" dirty="0" smtClean="0">
              <a:solidFill>
                <a:srgbClr val="17375E"/>
              </a:solidFill>
              <a:latin typeface="Gill Sans" panose="020B0604020202020204"/>
            </a:endParaRP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Les différents types de coaching</a:t>
            </a: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Les étapes de base du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coaching</a:t>
            </a:r>
            <a:endParaRPr lang="fr-FR" sz="1600" dirty="0" smtClean="0">
              <a:solidFill>
                <a:srgbClr val="17375E"/>
              </a:solidFill>
              <a:latin typeface="Gill Sans" panose="020B0604020202020204"/>
            </a:endParaRP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Phase 2 : Etre un manager/coach</a:t>
            </a: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Le savoir-être du manager/coach</a:t>
            </a: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Le savoir-faire du manager/coach</a:t>
            </a: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Les risques du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coaching</a:t>
            </a:r>
            <a:endParaRPr lang="fr-FR" sz="1600" dirty="0" smtClean="0">
              <a:solidFill>
                <a:srgbClr val="17375E"/>
              </a:solidFill>
              <a:latin typeface="Gill Sans" panose="020B0604020202020204"/>
            </a:endParaRP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Phase 3 : Mettre en pratique le coaching</a:t>
            </a: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Quand coacher ?</a:t>
            </a: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Les différentes méthodes de coaching</a:t>
            </a: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Pratiquer le </a:t>
            </a: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questionnement</a:t>
            </a:r>
            <a:endParaRPr lang="fr-FR" sz="1600" dirty="0" smtClean="0">
              <a:solidFill>
                <a:srgbClr val="17375E"/>
              </a:solidFill>
              <a:latin typeface="Gill Sans" panose="020B0604020202020204"/>
            </a:endParaRPr>
          </a:p>
          <a:p>
            <a:pPr lvl="0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Clr>
                <a:srgbClr val="C00000"/>
              </a:buClr>
            </a:pPr>
            <a:r>
              <a:rPr lang="fr-FR" sz="1600" dirty="0" smtClean="0">
                <a:solidFill>
                  <a:srgbClr val="17375E"/>
                </a:solidFill>
                <a:latin typeface="Gill Sans" panose="020B0604020202020204"/>
              </a:rPr>
              <a:t>Conclusion</a:t>
            </a:r>
            <a:endParaRPr lang="fr-FR" sz="1600" dirty="0" smtClean="0">
              <a:solidFill>
                <a:srgbClr val="17375E"/>
              </a:solidFill>
              <a:latin typeface="Gill Sans" panose="020B0604020202020204"/>
            </a:endParaRPr>
          </a:p>
          <a:p>
            <a:pPr lvl="1" algn="just">
              <a:lnSpc>
                <a:spcPts val="1900"/>
              </a:lnSpc>
              <a:spcBef>
                <a:spcPts val="600"/>
              </a:spcBef>
              <a:spcAft>
                <a:spcPts val="0"/>
              </a:spcAft>
              <a:buNone/>
            </a:pPr>
            <a:endParaRPr lang="fr-FR" sz="1600" dirty="0" smtClean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z="1800" smtClean="0"/>
              <a:pPr/>
              <a:t>2</a:t>
            </a:fld>
            <a:endParaRPr lang="fr-FR" sz="1800" dirty="0"/>
          </a:p>
        </p:txBody>
      </p:sp>
      <p:sp>
        <p:nvSpPr>
          <p:cNvPr id="7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 smtClean="0">
                <a:solidFill>
                  <a:srgbClr val="C2113A"/>
                </a:solidFill>
                <a:ea typeface="ＭＳ Ｐゴシック" panose="020B0600070205080204" pitchFamily="34" charset="-128"/>
              </a:rPr>
              <a:t>OBJECTIFS D’APPRENTISSAGE</a:t>
            </a:r>
            <a:endParaRPr lang="fr-FR" b="1" dirty="0">
              <a:solidFill>
                <a:srgbClr val="C2113A"/>
              </a:solidFill>
              <a:ea typeface="ＭＳ Ｐゴシック" panose="020B0600070205080204" pitchFamily="34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49491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4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4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4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4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4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4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4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4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0"/>
                            </p:stCondLst>
                            <p:childTnLst>
                              <p:par>
                                <p:cTn id="54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4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4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000"/>
                            </p:stCondLst>
                            <p:childTnLst>
                              <p:par>
                                <p:cTn id="62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4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4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7000"/>
                            </p:stCondLst>
                            <p:childTnLst>
                              <p:par>
                                <p:cTn id="70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4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4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8000"/>
                            </p:stCondLst>
                            <p:childTnLst>
                              <p:par>
                                <p:cTn id="78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4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4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9000"/>
                            </p:stCondLst>
                            <p:childTnLst>
                              <p:par>
                                <p:cTn id="86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4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4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000"/>
                            </p:stCondLst>
                            <p:childTnLst>
                              <p:par>
                                <p:cTn id="94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4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4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2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4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4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0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4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4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13000"/>
                            </p:stCondLst>
                            <p:childTnLst>
                              <p:par>
                                <p:cTn id="118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1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4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4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sz="2000" dirty="0">
                <a:solidFill>
                  <a:srgbClr val="C00000"/>
                </a:solidFill>
              </a:rPr>
              <a:t>1 Les Omissions Simples</a:t>
            </a:r>
          </a:p>
          <a:p>
            <a:r>
              <a:rPr lang="fr-FR" sz="2000" dirty="0"/>
              <a:t>Les omissions simples concernent : le sujet de la phrase, le complément d’objet, les compléments circonstanciels de temps, de lieu...</a:t>
            </a:r>
          </a:p>
          <a:p>
            <a:r>
              <a:rPr lang="fr-FR" sz="2000" dirty="0"/>
              <a:t>L’élément recherché dans la question est totalement absent dans la phrase (pas le moindre nom, ou pronom, rien, le néant).</a:t>
            </a:r>
          </a:p>
          <a:p>
            <a:r>
              <a:rPr lang="fr-FR" sz="2000" dirty="0"/>
              <a:t>“Il faut poster le courrier” (Omission du sujet, du complément circonstanciel de temps)</a:t>
            </a:r>
          </a:p>
          <a:p>
            <a:r>
              <a:rPr lang="fr-FR" sz="2000" dirty="0"/>
              <a:t>- Qui va poster le courrier?</a:t>
            </a:r>
          </a:p>
          <a:p>
            <a:r>
              <a:rPr lang="fr-FR" sz="2000" dirty="0"/>
              <a:t>- Quand faut-il poster le courrier?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20</a:t>
            </a:fld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709174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2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467544" y="692696"/>
            <a:ext cx="8229600" cy="50632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r-FR" b="1" smtClean="0"/>
              <a:t>Le Questionnement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535727" y="1570918"/>
            <a:ext cx="8229600" cy="4389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C00000"/>
                </a:solidFill>
              </a:rPr>
              <a:t>2 Les Manques d’Index de Référence (MIR)</a:t>
            </a:r>
          </a:p>
          <a:p>
            <a:pPr marL="0" indent="0">
              <a:buNone/>
            </a:pPr>
            <a:r>
              <a:rPr lang="fr-FR" sz="2400" dirty="0"/>
              <a:t>L’index de référence est une information qui complète, situe un objet, une personne, un lieu, un moment...</a:t>
            </a:r>
          </a:p>
          <a:p>
            <a:pPr marL="0" indent="0">
              <a:buNone/>
            </a:pPr>
            <a:endParaRPr lang="fr-FR" sz="2400" dirty="0"/>
          </a:p>
          <a:p>
            <a:pPr marL="0" indent="0">
              <a:buNone/>
            </a:pPr>
            <a:r>
              <a:rPr lang="fr-FR" sz="2400" dirty="0"/>
              <a:t>“J’ai rencontré quelqu’un”, la personne n’est pas référencée il y’a un MIR.</a:t>
            </a:r>
          </a:p>
          <a:p>
            <a:pPr marL="0" indent="0">
              <a:buNone/>
            </a:pPr>
            <a:r>
              <a:rPr lang="fr-FR" sz="2400" dirty="0"/>
              <a:t>Les manques d’index de référence concernent : le sujet de la phrase, le complément d’objet, les compléments circonstanciels de temps, de lieu</a:t>
            </a:r>
            <a:r>
              <a:rPr lang="fr-FR" sz="2400" dirty="0" smtClean="0"/>
              <a:t>.</a:t>
            </a:r>
            <a:endParaRPr lang="fr-FR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04007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22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467544" y="463384"/>
            <a:ext cx="8229600" cy="50632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r-FR" b="1" dirty="0" smtClean="0"/>
              <a:t>Le Questionnement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1219971"/>
            <a:ext cx="8229600" cy="4389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C00000"/>
                </a:solidFill>
              </a:rPr>
              <a:t>Les Comparatifs Non Référencés  </a:t>
            </a:r>
          </a:p>
          <a:p>
            <a:pPr marL="0" indent="0">
              <a:buNone/>
            </a:pPr>
            <a:r>
              <a:rPr lang="fr-FR" sz="2000" dirty="0"/>
              <a:t>Tout d’abord, quelques exemples de comparatifs référencés.</a:t>
            </a:r>
          </a:p>
          <a:p>
            <a:pPr marL="0" indent="0">
              <a:buNone/>
            </a:pPr>
            <a:r>
              <a:rPr lang="fr-FR" sz="2000" dirty="0" smtClean="0"/>
              <a:t>“Ahmed </a:t>
            </a:r>
            <a:r>
              <a:rPr lang="fr-FR" sz="2000" dirty="0"/>
              <a:t>travaille davantage que </a:t>
            </a:r>
            <a:r>
              <a:rPr lang="fr-FR" sz="2000" dirty="0" smtClean="0"/>
              <a:t>Youssef”.</a:t>
            </a:r>
            <a:endParaRPr lang="fr-FR" sz="2000" dirty="0"/>
          </a:p>
          <a:p>
            <a:pPr marL="0" indent="0">
              <a:buNone/>
            </a:pPr>
            <a:r>
              <a:rPr lang="fr-FR" sz="2000" dirty="0"/>
              <a:t>“Ça va moins bien depuis que je suis sur ce projet par rapport à quand je travaillais”.</a:t>
            </a:r>
          </a:p>
          <a:p>
            <a:pPr marL="0" indent="0">
              <a:buNone/>
            </a:pPr>
            <a:r>
              <a:rPr lang="fr-FR" sz="2000" dirty="0"/>
              <a:t>Dans ces différents cas, il est inutile de questionner la comparaison.</a:t>
            </a:r>
          </a:p>
          <a:p>
            <a:pPr marL="0" indent="0">
              <a:buNone/>
            </a:pPr>
            <a:r>
              <a:rPr lang="fr-FR" sz="2000" dirty="0"/>
              <a:t>Dans un comparatif non référencé, il y a également une comparaison mais il en manque un bout.</a:t>
            </a:r>
          </a:p>
          <a:p>
            <a:pPr marL="0" indent="0">
              <a:buNone/>
            </a:pPr>
            <a:r>
              <a:rPr lang="fr-FR" sz="2000" dirty="0"/>
              <a:t>“Je ne suis pas à la hauteur”.</a:t>
            </a:r>
          </a:p>
          <a:p>
            <a:pPr marL="0" indent="0">
              <a:buNone/>
            </a:pPr>
            <a:r>
              <a:rPr lang="fr-FR" sz="2000" dirty="0"/>
              <a:t>- Tu n’es pas à la hauteur par rapport à quoi</a:t>
            </a:r>
            <a:r>
              <a:rPr lang="fr-FR" sz="2000" dirty="0" smtClean="0"/>
              <a:t>?</a:t>
            </a:r>
            <a:endParaRPr lang="fr-FR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43460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23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467544" y="463384"/>
            <a:ext cx="8229600" cy="50632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r-FR" b="1" dirty="0" smtClean="0"/>
              <a:t>Le Questionnement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969704"/>
            <a:ext cx="8229600" cy="4389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C00000"/>
                </a:solidFill>
              </a:rPr>
              <a:t>4) Les nominalisations </a:t>
            </a:r>
          </a:p>
          <a:p>
            <a:pPr marL="0" indent="0">
              <a:buNone/>
            </a:pPr>
            <a:r>
              <a:rPr lang="fr-FR" sz="2000" dirty="0"/>
              <a:t>Les nominalisations </a:t>
            </a:r>
            <a:r>
              <a:rPr lang="fr-FR" sz="2000" dirty="0" smtClean="0"/>
              <a:t>sont des </a:t>
            </a:r>
            <a:r>
              <a:rPr lang="fr-FR" sz="2000" dirty="0"/>
              <a:t>noms qui décrivent un état, ou un processus. </a:t>
            </a:r>
          </a:p>
          <a:p>
            <a:pPr marL="0" indent="0">
              <a:buNone/>
            </a:pPr>
            <a:r>
              <a:rPr lang="fr-FR" sz="2000" dirty="0"/>
              <a:t>La liberté, le fondamentalisme, le découragement, le contrôle, l’harmonie, l’authenticité, le ridicule, la paix, l’agressivité, la violence, la </a:t>
            </a:r>
            <a:r>
              <a:rPr lang="fr-FR" sz="2000" dirty="0" smtClean="0"/>
              <a:t>sécurité, les </a:t>
            </a:r>
            <a:r>
              <a:rPr lang="fr-FR" sz="2000" dirty="0"/>
              <a:t>nominalisations nous mettent sur la piste des critères d’une personne, de ses valeurs, qui vont nous aider à vérifier “l’écologie” d’un objectif, d’un état présent.</a:t>
            </a:r>
          </a:p>
          <a:p>
            <a:pPr marL="0" indent="0">
              <a:buNone/>
            </a:pPr>
            <a:r>
              <a:rPr lang="fr-FR" sz="2000" dirty="0"/>
              <a:t>En revanche elles nous éloignent encore plus de l’expérience sensorielle.</a:t>
            </a:r>
          </a:p>
          <a:p>
            <a:pPr marL="0" indent="0">
              <a:buNone/>
            </a:pPr>
            <a:endParaRPr lang="fr-FR" sz="2000" dirty="0"/>
          </a:p>
          <a:p>
            <a:pPr marL="0" indent="0">
              <a:buNone/>
            </a:pPr>
            <a:r>
              <a:rPr lang="fr-FR" sz="2000" dirty="0"/>
              <a:t>Pour les questionner nous allons procéder en deux étapes :</a:t>
            </a:r>
          </a:p>
          <a:p>
            <a:pPr marL="0" indent="0">
              <a:buNone/>
            </a:pPr>
            <a:endParaRPr lang="fr-FR" sz="2000" dirty="0"/>
          </a:p>
          <a:p>
            <a:pPr marL="0" indent="0">
              <a:buNone/>
            </a:pPr>
            <a:r>
              <a:rPr lang="fr-FR" sz="2000" dirty="0"/>
              <a:t>1. Transformer la nominalisation en verbe non spécifique</a:t>
            </a:r>
          </a:p>
          <a:p>
            <a:pPr marL="0" indent="0">
              <a:buNone/>
            </a:pPr>
            <a:r>
              <a:rPr lang="fr-FR" sz="2000" dirty="0"/>
              <a:t>2. Questionner le verbe non spécifiqu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60300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24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467544" y="463384"/>
            <a:ext cx="8229600" cy="50632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r-FR" b="1" dirty="0" smtClean="0"/>
              <a:t>Le Questionnement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969704"/>
            <a:ext cx="8229600" cy="4389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C00000"/>
                </a:solidFill>
              </a:rPr>
              <a:t>4) Les nominalisations </a:t>
            </a:r>
          </a:p>
          <a:p>
            <a:pPr marL="0" indent="0">
              <a:buNone/>
            </a:pPr>
            <a:endParaRPr lang="fr-FR" sz="2000" dirty="0"/>
          </a:p>
          <a:p>
            <a:pPr marL="0" indent="0">
              <a:buNone/>
            </a:pPr>
            <a:r>
              <a:rPr lang="fr-FR" sz="2000" dirty="0"/>
              <a:t>Pour les questionner nous allons procéder en deux étapes :</a:t>
            </a:r>
          </a:p>
          <a:p>
            <a:pPr marL="0" indent="0">
              <a:buNone/>
            </a:pPr>
            <a:endParaRPr lang="fr-FR" sz="2000" dirty="0"/>
          </a:p>
          <a:p>
            <a:pPr marL="0" indent="0">
              <a:buNone/>
            </a:pPr>
            <a:r>
              <a:rPr lang="fr-FR" sz="2000" dirty="0"/>
              <a:t>1. Transformer la nominalisation en verbe non spécifique</a:t>
            </a:r>
          </a:p>
          <a:p>
            <a:pPr marL="0" indent="0">
              <a:buNone/>
            </a:pPr>
            <a:r>
              <a:rPr lang="fr-FR" sz="2000" dirty="0"/>
              <a:t>2. Questionner le verbe non spécifiqu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21551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25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467544" y="463384"/>
            <a:ext cx="8229600" cy="50632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r-FR" b="1" dirty="0" smtClean="0"/>
              <a:t>Le Questionnement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1219971"/>
            <a:ext cx="8229600" cy="4389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>
                <a:solidFill>
                  <a:srgbClr val="C00000"/>
                </a:solidFill>
              </a:rPr>
              <a:t>4) Les nominalisations </a:t>
            </a:r>
          </a:p>
          <a:p>
            <a:pPr marL="0" indent="0">
              <a:buNone/>
            </a:pPr>
            <a:r>
              <a:rPr lang="fr-FR" sz="2000" dirty="0" smtClean="0"/>
              <a:t>Exemples</a:t>
            </a:r>
            <a:endParaRPr lang="fr-FR" sz="2000" dirty="0"/>
          </a:p>
          <a:p>
            <a:pPr marL="0" indent="0">
              <a:buNone/>
            </a:pPr>
            <a:r>
              <a:rPr lang="fr-FR" sz="2000" dirty="0"/>
              <a:t>“Je suis envahis par le découragement”. (découragement- &gt; se décourager)</a:t>
            </a:r>
          </a:p>
          <a:p>
            <a:pPr marL="0" indent="0">
              <a:buNone/>
            </a:pPr>
            <a:r>
              <a:rPr lang="fr-FR" sz="2000" dirty="0"/>
              <a:t>- De quelle manière te décourages-tu?</a:t>
            </a:r>
          </a:p>
          <a:p>
            <a:pPr marL="0" indent="0">
              <a:buNone/>
            </a:pPr>
            <a:r>
              <a:rPr lang="fr-FR" sz="2000" dirty="0"/>
              <a:t>- Ou bien en deux temps avec une reformulation décalée :</a:t>
            </a:r>
          </a:p>
          <a:p>
            <a:pPr marL="0" indent="0">
              <a:buNone/>
            </a:pPr>
            <a:r>
              <a:rPr lang="fr-FR" sz="2000" dirty="0"/>
              <a:t>- Tu te sens découragé...</a:t>
            </a:r>
          </a:p>
          <a:p>
            <a:pPr marL="0" indent="0">
              <a:buNone/>
            </a:pPr>
            <a:r>
              <a:rPr lang="fr-FR" sz="2000" dirty="0"/>
              <a:t>- Comment fais-tu pour te sentir décourager</a:t>
            </a:r>
          </a:p>
          <a:p>
            <a:pPr marL="0" indent="0">
              <a:buNone/>
            </a:pPr>
            <a:r>
              <a:rPr lang="fr-FR" sz="2000" dirty="0"/>
              <a:t>- Comment fais-tu pour te décourager (plus “raide” pour le rapport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93829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26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467544" y="463384"/>
            <a:ext cx="8229600" cy="50632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r-FR" b="1" dirty="0" smtClean="0"/>
              <a:t>Le Questionnement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2791596"/>
            <a:ext cx="8229600" cy="4389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2400" dirty="0"/>
              <a:t>LES QUESTIONS QUI CHANGENT LE POINT DE VUE (CPV)</a:t>
            </a:r>
            <a:endParaRPr lang="fr-FR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76237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27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467544" y="463384"/>
            <a:ext cx="8229600" cy="50632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r-FR" b="1" dirty="0" smtClean="0"/>
              <a:t>Le Questionnement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1219971"/>
            <a:ext cx="8229600" cy="4389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400" dirty="0" smtClean="0">
                <a:solidFill>
                  <a:srgbClr val="C00000"/>
                </a:solidFill>
              </a:rPr>
              <a:t>4</a:t>
            </a:r>
            <a:r>
              <a:rPr lang="fr-FR" sz="2400" dirty="0">
                <a:solidFill>
                  <a:srgbClr val="C00000"/>
                </a:solidFill>
              </a:rPr>
              <a:t>) 1-Les Opérateurs Modaux</a:t>
            </a:r>
            <a:endParaRPr lang="fr-FR" sz="2400" dirty="0" smtClean="0">
              <a:solidFill>
                <a:srgbClr val="C00000"/>
              </a:solidFill>
            </a:endParaRPr>
          </a:p>
          <a:p>
            <a:r>
              <a:rPr lang="fr-FR" sz="2000" dirty="0" smtClean="0"/>
              <a:t>Un </a:t>
            </a:r>
            <a:r>
              <a:rPr lang="fr-FR" sz="2000" dirty="0"/>
              <a:t>opérateur modal est un verbe (ou un groupe verbal), qui agit sur le “mode” du verbe qui le suit.</a:t>
            </a:r>
          </a:p>
          <a:p>
            <a:r>
              <a:rPr lang="fr-FR" sz="2000" dirty="0"/>
              <a:t>Sans opérateur modal le verbe se conjugue à l’indicatif.</a:t>
            </a:r>
          </a:p>
          <a:p>
            <a:r>
              <a:rPr lang="fr-FR" sz="2000" dirty="0"/>
              <a:t>Avec un opérateur modal il passe au subjonctif ou à l’infinitif.</a:t>
            </a:r>
          </a:p>
          <a:p>
            <a:r>
              <a:rPr lang="fr-FR" sz="2000" dirty="0"/>
              <a:t>Exemple 1 : “Je pars” : le verbe partir est au mode indicatif (Première personne du présent de l’indicatif) : il n’y a pas d’opérateur modal.</a:t>
            </a:r>
          </a:p>
          <a:p>
            <a:r>
              <a:rPr lang="fr-FR" sz="2000" dirty="0"/>
              <a:t>Exemple 2 : “Il faut que je parte” : le verbe partir est au mode subjonctif (Première personne du présent du subjonctif) : il est précédé d’un opérateur modal : “Il faut que</a:t>
            </a:r>
            <a:r>
              <a:rPr lang="fr-FR" sz="2000" dirty="0" smtClean="0"/>
              <a:t>”.</a:t>
            </a:r>
            <a:endParaRPr lang="fr-FR" sz="2000" dirty="0"/>
          </a:p>
          <a:p>
            <a:r>
              <a:rPr lang="fr-FR" sz="2000" dirty="0"/>
              <a:t>Exemple 3 : “Je dois partir” : partir est au mode infinitif. “Je dois” est un opérateur modal</a:t>
            </a:r>
            <a:r>
              <a:rPr lang="fr-FR" sz="2000" dirty="0" smtClean="0"/>
              <a:t>.</a:t>
            </a:r>
            <a:endParaRPr lang="fr-FR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2080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EE2C88-6C8F-484D-AF69-578F576B1F44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/>
              <a:t>28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Titre 1"/>
          <p:cNvSpPr txBox="1">
            <a:spLocks/>
          </p:cNvSpPr>
          <p:nvPr/>
        </p:nvSpPr>
        <p:spPr>
          <a:xfrm>
            <a:off x="467544" y="463384"/>
            <a:ext cx="8229600" cy="50632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fr-FR" b="1" dirty="0" smtClean="0"/>
              <a:t>Le Questionnement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1219971"/>
            <a:ext cx="8229600" cy="438912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sz="2400" dirty="0" smtClean="0">
              <a:solidFill>
                <a:srgbClr val="C0000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542925" y="1483870"/>
            <a:ext cx="76723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omment questionner un opérateur modal </a:t>
            </a:r>
            <a:r>
              <a:rPr lang="fr-FR" dirty="0" smtClean="0"/>
              <a:t>?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542925" y="2367368"/>
            <a:ext cx="860107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Opérateurs occultant les empêchements </a:t>
            </a:r>
          </a:p>
          <a:p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Opérateurs occultant les conséquences </a:t>
            </a:r>
            <a:endParaRPr lang="fr-FR" dirty="0" smtClean="0"/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Il faut que je rentre chez moi !</a:t>
            </a:r>
          </a:p>
          <a:p>
            <a:endParaRPr lang="fr-FR" dirty="0" smtClean="0"/>
          </a:p>
          <a:p>
            <a:r>
              <a:rPr lang="fr-FR" dirty="0" smtClean="0"/>
              <a:t>On </a:t>
            </a:r>
            <a:r>
              <a:rPr lang="fr-FR" dirty="0"/>
              <a:t>peut explorer les empêchements : “Qu’est-ce qui t’empêche de rester?” Mais aussi les conséquences : “Que se passe-t-il si tu restes?”</a:t>
            </a:r>
          </a:p>
          <a:p>
            <a:endParaRPr lang="fr-FR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2192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b="1" dirty="0"/>
              <a:t>Le Questionnemen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 smtClean="0"/>
              <a:t>Les généralisations</a:t>
            </a:r>
          </a:p>
          <a:p>
            <a:r>
              <a:rPr lang="fr-FR" dirty="0" smtClean="0"/>
              <a:t>La lecture de pensée</a:t>
            </a:r>
          </a:p>
          <a:p>
            <a:r>
              <a:rPr lang="fr-FR" dirty="0" smtClean="0"/>
              <a:t>Cause à effet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29</a:t>
            </a:fld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474778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1168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8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 smtClean="0">
                <a:solidFill>
                  <a:srgbClr val="C2113A"/>
                </a:solidFill>
              </a:rPr>
              <a:t>PHASE 1 : CONTEXTE DU COACHING PROFESSIONNEL</a:t>
            </a:r>
            <a:endParaRPr lang="fr-FR" b="1" dirty="0">
              <a:solidFill>
                <a:srgbClr val="C2113A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 coaching?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559616"/>
              </p:ext>
            </p:extLst>
          </p:nvPr>
        </p:nvGraphicFramePr>
        <p:xfrm>
          <a:off x="457200" y="1988840"/>
          <a:ext cx="7283152" cy="4335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3</a:t>
            </a:fld>
            <a:endParaRPr lang="fr-FR"/>
          </a:p>
        </p:txBody>
      </p:sp>
      <p:graphicFrame>
        <p:nvGraphicFramePr>
          <p:cNvPr id="6" name="Diagramme 5"/>
          <p:cNvGraphicFramePr/>
          <p:nvPr>
            <p:extLst>
              <p:ext uri="{D42A27DB-BD31-4B8C-83A1-F6EECF244321}">
                <p14:modId xmlns:p14="http://schemas.microsoft.com/office/powerpoint/2010/main" val="2546725362"/>
              </p:ext>
            </p:extLst>
          </p:nvPr>
        </p:nvGraphicFramePr>
        <p:xfrm>
          <a:off x="7732443" y="518052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9246402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24652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e think-cell" r:id="rId6" imgW="425" imgH="426" progId="TCLayout.ActiveDocument.1">
                  <p:embed/>
                </p:oleObj>
              </mc:Choice>
              <mc:Fallback>
                <p:oleObj name="Diapositive think-cell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958850"/>
            <a:ext cx="6350000" cy="4673600"/>
          </a:xfrm>
          <a:solidFill>
            <a:srgbClr val="FFFFFF"/>
          </a:solidFill>
          <a:ln/>
        </p:spPr>
        <p:txBody>
          <a:bodyPr lIns="0" tIns="0" rIns="0" bIns="0">
            <a:noAutofit/>
          </a:bodyPr>
          <a:lstStyle/>
          <a:p>
            <a: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Mais c’est aussi un …</a:t>
            </a:r>
          </a:p>
          <a:p>
            <a: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«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 Accompagnement limité dans le temps, où l’on se tient aux côtés d’une personne (</a:t>
            </a:r>
            <a:r>
              <a:rPr lang="fr-FR" sz="2000" b="1" dirty="0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ou d’un groupe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) souhaitant cheminer d’un point A à un point B, où on lui fournit des balises et un regard extérieur bienveillant mais pas complaisant 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»</a:t>
            </a:r>
          </a:p>
          <a:p>
            <a: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Pierre </a:t>
            </a: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Blanc-</a:t>
            </a:r>
            <a:r>
              <a:rPr lang="fr-FR" sz="2000" dirty="0" err="1" smtClean="0">
                <a:solidFill>
                  <a:srgbClr val="17375E"/>
                </a:solidFill>
                <a:latin typeface="Gill Sans" panose="020B0604020202020204"/>
                <a:cs typeface="Arial" pitchFamily="34" charset="0"/>
              </a:rPr>
              <a:t>Sahnoun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4</a:t>
            </a:fld>
            <a:endParaRPr lang="fr-FR"/>
          </a:p>
        </p:txBody>
      </p:sp>
      <p:graphicFrame>
        <p:nvGraphicFramePr>
          <p:cNvPr id="6" name="Diagramme 5"/>
          <p:cNvGraphicFramePr/>
          <p:nvPr/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PROFESSIONNEL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95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740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7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PROFESSIONNEL</a:t>
            </a:r>
            <a:endParaRPr lang="fr-FR" b="1" dirty="0">
              <a:solidFill>
                <a:srgbClr val="C2113A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 coaching d’équipe :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5</a:t>
            </a:fld>
            <a:endParaRPr lang="fr-FR"/>
          </a:p>
        </p:txBody>
      </p:sp>
      <p:graphicFrame>
        <p:nvGraphicFramePr>
          <p:cNvPr id="9" name="Espace réservé du contenu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1260189"/>
              </p:ext>
            </p:extLst>
          </p:nvPr>
        </p:nvGraphicFramePr>
        <p:xfrm>
          <a:off x="188181" y="1533373"/>
          <a:ext cx="8229600" cy="4389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6" name="Diagramme 5"/>
          <p:cNvGraphicFramePr/>
          <p:nvPr>
            <p:extLst>
              <p:ext uri="{D42A27DB-BD31-4B8C-83A1-F6EECF244321}">
                <p14:modId xmlns:p14="http://schemas.microsoft.com/office/powerpoint/2010/main" val="1747748035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41308852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12507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En résumé… Pourquoi coacher ?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16" name="Ellipse 15"/>
          <p:cNvSpPr/>
          <p:nvPr/>
        </p:nvSpPr>
        <p:spPr>
          <a:xfrm>
            <a:off x="6804248" y="4293096"/>
            <a:ext cx="72008" cy="7200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endParaRPr lang="fr-FR">
              <a:latin typeface="Gill Sans" panose="020B0604020202020204"/>
            </a:endParaRPr>
          </a:p>
        </p:txBody>
      </p:sp>
      <p:grpSp>
        <p:nvGrpSpPr>
          <p:cNvPr id="19" name="Groupe 18"/>
          <p:cNvGrpSpPr/>
          <p:nvPr/>
        </p:nvGrpSpPr>
        <p:grpSpPr>
          <a:xfrm>
            <a:off x="251520" y="1844824"/>
            <a:ext cx="7200800" cy="3547529"/>
            <a:chOff x="395536" y="1556792"/>
            <a:chExt cx="8570664" cy="3477252"/>
          </a:xfrm>
        </p:grpSpPr>
        <p:sp>
          <p:nvSpPr>
            <p:cNvPr id="5" name="Text Box 9"/>
            <p:cNvSpPr txBox="1">
              <a:spLocks noChangeArrowheads="1"/>
            </p:cNvSpPr>
            <p:nvPr/>
          </p:nvSpPr>
          <p:spPr bwMode="auto">
            <a:xfrm>
              <a:off x="395536" y="3645024"/>
              <a:ext cx="1512168" cy="45251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algn="ctr"/>
              <a:r>
                <a:rPr lang="fr-FR" sz="2400" b="1" dirty="0" smtClean="0">
                  <a:latin typeface="Gill Sans" panose="020B0604020202020204"/>
                  <a:cs typeface="Arial" pitchFamily="34" charset="0"/>
                </a:rPr>
                <a:t>Départ</a:t>
              </a:r>
              <a:endParaRPr lang="fr-FR" sz="2800" b="1" dirty="0">
                <a:latin typeface="Gill Sans" panose="020B0604020202020204"/>
                <a:cs typeface="Arial" pitchFamily="34" charset="0"/>
              </a:endParaRPr>
            </a:p>
          </p:txBody>
        </p:sp>
        <p:sp>
          <p:nvSpPr>
            <p:cNvPr id="6" name="Text Box 10"/>
            <p:cNvSpPr txBox="1">
              <a:spLocks noChangeArrowheads="1"/>
            </p:cNvSpPr>
            <p:nvPr/>
          </p:nvSpPr>
          <p:spPr bwMode="auto">
            <a:xfrm>
              <a:off x="7308850" y="4581525"/>
              <a:ext cx="1657350" cy="45251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/>
              <a:r>
                <a:rPr lang="fr-FR" sz="2400" b="1" dirty="0">
                  <a:latin typeface="Gill Sans" panose="020B0604020202020204"/>
                  <a:cs typeface="Arial" pitchFamily="34" charset="0"/>
                </a:rPr>
                <a:t>Objectif</a:t>
              </a:r>
              <a:endParaRPr lang="fr-FR" sz="2800" b="1" dirty="0">
                <a:latin typeface="Gill Sans" panose="020B0604020202020204"/>
                <a:cs typeface="Arial" pitchFamily="34" charset="0"/>
              </a:endParaRPr>
            </a:p>
          </p:txBody>
        </p:sp>
        <p:sp>
          <p:nvSpPr>
            <p:cNvPr id="7" name="Text Box 11"/>
            <p:cNvSpPr txBox="1">
              <a:spLocks noChangeArrowheads="1"/>
            </p:cNvSpPr>
            <p:nvPr/>
          </p:nvSpPr>
          <p:spPr bwMode="auto">
            <a:xfrm>
              <a:off x="4140200" y="4581525"/>
              <a:ext cx="1790044" cy="452519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fr-FR" sz="2400" b="1" dirty="0">
                  <a:solidFill>
                    <a:srgbClr val="CC0000"/>
                  </a:solidFill>
                  <a:latin typeface="Gill Sans" panose="020B0604020202020204"/>
                  <a:cs typeface="Arial" pitchFamily="34" charset="0"/>
                </a:rPr>
                <a:t>Problème</a:t>
              </a:r>
              <a:endParaRPr lang="fr-FR" sz="2800" b="1" dirty="0">
                <a:solidFill>
                  <a:srgbClr val="CC0000"/>
                </a:solidFill>
                <a:latin typeface="Gill Sans" panose="020B0604020202020204"/>
                <a:cs typeface="Arial" pitchFamily="34" charset="0"/>
              </a:endParaRPr>
            </a:p>
          </p:txBody>
        </p:sp>
        <p:sp>
          <p:nvSpPr>
            <p:cNvPr id="8" name="AutoShape 13"/>
            <p:cNvSpPr>
              <a:spLocks noChangeArrowheads="1"/>
            </p:cNvSpPr>
            <p:nvPr/>
          </p:nvSpPr>
          <p:spPr bwMode="auto">
            <a:xfrm>
              <a:off x="2483768" y="3717032"/>
              <a:ext cx="5183188" cy="431800"/>
            </a:xfrm>
            <a:prstGeom prst="rightArrow">
              <a:avLst>
                <a:gd name="adj1" fmla="val 50000"/>
                <a:gd name="adj2" fmla="val 300092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rgbClr val="C00000"/>
              </a:solidFill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>
                <a:latin typeface="Gill Sans" panose="020B0604020202020204"/>
              </a:endParaRPr>
            </a:p>
          </p:txBody>
        </p:sp>
        <p:grpSp>
          <p:nvGrpSpPr>
            <p:cNvPr id="9" name="Group 29"/>
            <p:cNvGrpSpPr>
              <a:grpSpLocks/>
            </p:cNvGrpSpPr>
            <p:nvPr/>
          </p:nvGrpSpPr>
          <p:grpSpPr bwMode="auto">
            <a:xfrm>
              <a:off x="7740650" y="3500438"/>
              <a:ext cx="935038" cy="936625"/>
              <a:chOff x="5012" y="2115"/>
              <a:chExt cx="589" cy="590"/>
            </a:xfrm>
            <a:solidFill>
              <a:srgbClr val="FFC0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0" name="Oval 17"/>
              <p:cNvSpPr>
                <a:spLocks noChangeArrowheads="1"/>
              </p:cNvSpPr>
              <p:nvPr/>
            </p:nvSpPr>
            <p:spPr bwMode="auto">
              <a:xfrm>
                <a:off x="5012" y="2115"/>
                <a:ext cx="589" cy="590"/>
              </a:xfrm>
              <a:prstGeom prst="ellipse">
                <a:avLst/>
              </a:prstGeom>
              <a:grpFill/>
              <a:ln>
                <a:solidFill>
                  <a:srgbClr val="C00000"/>
                </a:solidFill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>
                  <a:defRPr/>
                </a:pPr>
                <a:endParaRPr lang="fr-FR">
                  <a:latin typeface="Gill Sans" panose="020B0604020202020204"/>
                </a:endParaRPr>
              </a:p>
            </p:txBody>
          </p:sp>
          <p:sp>
            <p:nvSpPr>
              <p:cNvPr id="11" name="Oval 18"/>
              <p:cNvSpPr>
                <a:spLocks noChangeArrowheads="1"/>
              </p:cNvSpPr>
              <p:nvPr/>
            </p:nvSpPr>
            <p:spPr bwMode="auto">
              <a:xfrm>
                <a:off x="5148" y="2251"/>
                <a:ext cx="318" cy="318"/>
              </a:xfrm>
              <a:prstGeom prst="ellipse">
                <a:avLst/>
              </a:prstGeom>
              <a:grpFill/>
              <a:ln>
                <a:solidFill>
                  <a:srgbClr val="C00000"/>
                </a:solidFill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anchor="ctr">
                <a:sp3d extrusionH="57150">
                  <a:bevelT w="38100" h="38100"/>
                </a:sp3d>
              </a:bodyPr>
              <a:lstStyle/>
              <a:p>
                <a:pPr>
                  <a:defRPr/>
                </a:pPr>
                <a:endParaRPr lang="fr-FR">
                  <a:latin typeface="Gill Sans" panose="020B0604020202020204"/>
                </a:endParaRPr>
              </a:p>
            </p:txBody>
          </p:sp>
        </p:grpSp>
        <p:sp>
          <p:nvSpPr>
            <p:cNvPr id="12" name="Flèche courbée vers le bas 11"/>
            <p:cNvSpPr/>
            <p:nvPr/>
          </p:nvSpPr>
          <p:spPr bwMode="auto">
            <a:xfrm>
              <a:off x="1115616" y="1556792"/>
              <a:ext cx="7560072" cy="1872208"/>
            </a:xfrm>
            <a:prstGeom prst="curvedDownArrow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rgbClr val="C00000"/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fr-FR">
                <a:solidFill>
                  <a:schemeClr val="tx1"/>
                </a:solidFill>
                <a:latin typeface="Gill Sans" panose="020B0604020202020204"/>
              </a:endParaRPr>
            </a:p>
          </p:txBody>
        </p:sp>
        <p:sp>
          <p:nvSpPr>
            <p:cNvPr id="17" name="Text Box 12"/>
            <p:cNvSpPr txBox="1">
              <a:spLocks noChangeArrowheads="1"/>
            </p:cNvSpPr>
            <p:nvPr/>
          </p:nvSpPr>
          <p:spPr bwMode="auto">
            <a:xfrm>
              <a:off x="4140200" y="1987550"/>
              <a:ext cx="1657350" cy="392184"/>
            </a:xfrm>
            <a:prstGeom prst="rect">
              <a:avLst/>
            </a:prstGeom>
            <a:solidFill>
              <a:srgbClr val="FFFF00"/>
            </a:solidFill>
            <a:ln w="19050">
              <a:solidFill>
                <a:srgbClr val="C0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/>
              <a:r>
                <a:rPr lang="fr-FR" sz="20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Gill Sans" panose="020B0604020202020204"/>
                  <a:cs typeface="Arial" pitchFamily="34" charset="0"/>
                </a:rPr>
                <a:t>Coaching</a:t>
              </a:r>
              <a:endParaRPr lang="fr-FR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Gill Sans" panose="020B0604020202020204"/>
                <a:cs typeface="Arial" pitchFamily="34" charset="0"/>
              </a:endParaRPr>
            </a:p>
          </p:txBody>
        </p:sp>
        <p:sp>
          <p:nvSpPr>
            <p:cNvPr id="18" name="AutoShape 15"/>
            <p:cNvSpPr>
              <a:spLocks noChangeArrowheads="1"/>
            </p:cNvSpPr>
            <p:nvPr/>
          </p:nvSpPr>
          <p:spPr bwMode="auto">
            <a:xfrm rot="6194125">
              <a:off x="4525368" y="3388598"/>
              <a:ext cx="831584" cy="1154661"/>
            </a:xfrm>
            <a:prstGeom prst="irregularSeal1">
              <a:avLst/>
            </a:prstGeom>
            <a:solidFill>
              <a:srgbClr val="C00000"/>
            </a:solidFill>
            <a:ln>
              <a:solidFill>
                <a:srgbClr val="C00000"/>
              </a:solidFill>
              <a:headEnd/>
              <a:tailEnd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fr-FR">
                <a:latin typeface="Gill Sans" panose="020B0604020202020204"/>
              </a:endParaRPr>
            </a:p>
          </p:txBody>
        </p:sp>
      </p:grpSp>
      <p:graphicFrame>
        <p:nvGraphicFramePr>
          <p:cNvPr id="20" name="Diagramme 19"/>
          <p:cNvGraphicFramePr/>
          <p:nvPr>
            <p:extLst>
              <p:ext uri="{D42A27DB-BD31-4B8C-83A1-F6EECF244321}">
                <p14:modId xmlns:p14="http://schemas.microsoft.com/office/powerpoint/2010/main" val="2225623204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1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PROFESSIONNEL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733546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0371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 coaching d’intégration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fld id="{AA646889-9E54-42B1-B90E-3EFD9B1560F7}" type="slidenum">
              <a:rPr lang="fr-FR" smtClean="0">
                <a:latin typeface="+mj-lt"/>
              </a:rPr>
              <a:pPr/>
              <a:t>7</a:t>
            </a:fld>
            <a:endParaRPr lang="fr-FR">
              <a:latin typeface="+mj-lt"/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304800" y="2298477"/>
            <a:ext cx="1374698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Objectifs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7" name="Rectangle à coins arrondis 6"/>
          <p:cNvSpPr/>
          <p:nvPr/>
        </p:nvSpPr>
        <p:spPr>
          <a:xfrm>
            <a:off x="1875884" y="2298477"/>
            <a:ext cx="5629716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L’intégrer </a:t>
            </a: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plus facilement dans son nouveau milieu de travail</a:t>
            </a:r>
          </a:p>
          <a:p>
            <a:pPr algn="just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Promouvoir </a:t>
            </a: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sa réussite dans son nouveau poste</a:t>
            </a:r>
          </a:p>
          <a:p>
            <a:pPr algn="just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Le </a:t>
            </a: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rendre crédible aux yeux des autres collaborateur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1875884" y="1434381"/>
            <a:ext cx="5629716" cy="720080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Lorsqu’un de vos salariés intègre une nouvelle fonction, qu’il doit assumer un nouveau rôle où les enjeux sont importants.</a:t>
            </a:r>
            <a:endPara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9" name="Rectangle à coins arrondis 8"/>
          <p:cNvSpPr/>
          <p:nvPr/>
        </p:nvSpPr>
        <p:spPr>
          <a:xfrm>
            <a:off x="304800" y="1434381"/>
            <a:ext cx="1374698" cy="720080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Quand ?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0" name="Rectangle à coins arrondis 9"/>
          <p:cNvSpPr/>
          <p:nvPr/>
        </p:nvSpPr>
        <p:spPr>
          <a:xfrm>
            <a:off x="304800" y="3450605"/>
            <a:ext cx="1374698" cy="1296144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700" b="1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Comment ?</a:t>
            </a:r>
            <a:endParaRPr lang="fr-FR" sz="1700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1875884" y="3450605"/>
            <a:ext cx="5629716" cy="1296144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algn="just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3 étapes :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Analyser la situ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P</a:t>
            </a: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lanifier les objectif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M</a:t>
            </a: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ener le plan d'action</a:t>
            </a:r>
          </a:p>
          <a:p>
            <a:pPr algn="just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</a:t>
            </a:r>
          </a:p>
        </p:txBody>
      </p:sp>
      <p:sp>
        <p:nvSpPr>
          <p:cNvPr id="12" name="Rectangle à coins arrondis 11"/>
          <p:cNvSpPr/>
          <p:nvPr/>
        </p:nvSpPr>
        <p:spPr>
          <a:xfrm>
            <a:off x="304800" y="4890765"/>
            <a:ext cx="1374698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Votre rôle…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1875884" y="4890765"/>
            <a:ext cx="5629716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6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algn="just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</a:t>
            </a: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Le soutenir</a:t>
            </a:r>
          </a:p>
          <a:p>
            <a:pPr algn="just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Le rendre autonome</a:t>
            </a:r>
          </a:p>
          <a:p>
            <a:pPr algn="just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Etre disponible</a:t>
            </a:r>
          </a:p>
          <a:p>
            <a:pPr algn="just"/>
            <a:endParaRPr lang="fr-FR" sz="1600" dirty="0" smtClean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graphicFrame>
        <p:nvGraphicFramePr>
          <p:cNvPr id="15" name="Diagramme 14"/>
          <p:cNvGraphicFramePr/>
          <p:nvPr>
            <p:extLst>
              <p:ext uri="{D42A27DB-BD31-4B8C-83A1-F6EECF244321}">
                <p14:modId xmlns:p14="http://schemas.microsoft.com/office/powerpoint/2010/main" val="3643193795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6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</a:t>
            </a:r>
            <a:r>
              <a:rPr lang="fr-FR" b="1" dirty="0" smtClean="0">
                <a:solidFill>
                  <a:srgbClr val="C2113A"/>
                </a:solidFill>
              </a:rPr>
              <a:t>PROFESSIONNEL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40989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 1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1078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 coaching de croissance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8</a:t>
            </a:fld>
            <a:endParaRPr lang="fr-FR"/>
          </a:p>
        </p:txBody>
      </p:sp>
      <p:grpSp>
        <p:nvGrpSpPr>
          <p:cNvPr id="21" name="Groupe 20"/>
          <p:cNvGrpSpPr/>
          <p:nvPr/>
        </p:nvGrpSpPr>
        <p:grpSpPr>
          <a:xfrm>
            <a:off x="304225" y="2312558"/>
            <a:ext cx="7344816" cy="1224136"/>
            <a:chOff x="467544" y="2564904"/>
            <a:chExt cx="7344816" cy="1224136"/>
          </a:xfrm>
        </p:grpSpPr>
        <p:sp>
          <p:nvSpPr>
            <p:cNvPr id="7" name="Rectangle à coins arrondis 6"/>
            <p:cNvSpPr/>
            <p:nvPr/>
          </p:nvSpPr>
          <p:spPr>
            <a:xfrm>
              <a:off x="467544" y="2564904"/>
              <a:ext cx="1402192" cy="12241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Objectifs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8" name="Rectangle à coins arrondis 7"/>
            <p:cNvSpPr/>
            <p:nvPr/>
          </p:nvSpPr>
          <p:spPr>
            <a:xfrm>
              <a:off x="2070049" y="2564904"/>
              <a:ext cx="5742311" cy="122413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 Donner un nouveau sens à sa vie professionnelle</a:t>
              </a:r>
            </a:p>
            <a:p>
              <a:pPr algn="ctr"/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 Promouvoir son développement professionnel en continu</a:t>
              </a:r>
            </a:p>
            <a:p>
              <a:pPr algn="ctr"/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 </a:t>
              </a:r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Faire en sorte que ce changement devienne une ressource pour sa vie future</a:t>
              </a:r>
              <a:endPara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</p:grpSp>
      <p:grpSp>
        <p:nvGrpSpPr>
          <p:cNvPr id="20" name="Groupe 19"/>
          <p:cNvGrpSpPr/>
          <p:nvPr/>
        </p:nvGrpSpPr>
        <p:grpSpPr>
          <a:xfrm>
            <a:off x="304225" y="1504866"/>
            <a:ext cx="7344816" cy="720080"/>
            <a:chOff x="467544" y="1700808"/>
            <a:chExt cx="7344816" cy="720080"/>
          </a:xfrm>
        </p:grpSpPr>
        <p:sp>
          <p:nvSpPr>
            <p:cNvPr id="9" name="Rectangle à coins arrondis 8"/>
            <p:cNvSpPr/>
            <p:nvPr/>
          </p:nvSpPr>
          <p:spPr>
            <a:xfrm>
              <a:off x="2070049" y="1700808"/>
              <a:ext cx="5742311" cy="72008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Lorsque le collaborateur, sans problème particulier, souhaite se remettre en question dans son milieu professionnel.</a:t>
              </a:r>
              <a:endPara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10" name="Rectangle à coins arrondis 9"/>
            <p:cNvSpPr/>
            <p:nvPr/>
          </p:nvSpPr>
          <p:spPr>
            <a:xfrm>
              <a:off x="467544" y="1700808"/>
              <a:ext cx="1402192" cy="72008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Quand ?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</p:grpSp>
      <p:grpSp>
        <p:nvGrpSpPr>
          <p:cNvPr id="22" name="Groupe 21"/>
          <p:cNvGrpSpPr/>
          <p:nvPr/>
        </p:nvGrpSpPr>
        <p:grpSpPr>
          <a:xfrm>
            <a:off x="304225" y="3624306"/>
            <a:ext cx="7344816" cy="1080120"/>
            <a:chOff x="467544" y="3933056"/>
            <a:chExt cx="7344816" cy="1080120"/>
          </a:xfrm>
        </p:grpSpPr>
        <p:sp>
          <p:nvSpPr>
            <p:cNvPr id="11" name="Rectangle à coins arrondis 10"/>
            <p:cNvSpPr/>
            <p:nvPr/>
          </p:nvSpPr>
          <p:spPr>
            <a:xfrm>
              <a:off x="467544" y="3933056"/>
              <a:ext cx="1402192" cy="108012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Comment ?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12" name="Rectangle à coins arrondis 11"/>
            <p:cNvSpPr/>
            <p:nvPr/>
          </p:nvSpPr>
          <p:spPr>
            <a:xfrm>
              <a:off x="2070049" y="4041068"/>
              <a:ext cx="5742311" cy="86409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600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Prendre </a:t>
              </a:r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de la distance sur la situation actuelle</a:t>
              </a:r>
            </a:p>
            <a:p>
              <a:pPr algn="ctr"/>
              <a:r>
                <a:rPr lang="fr-FR" sz="1600" dirty="0" smtClean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Réfléchir </a:t>
              </a:r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à ses perspectives d’avenir</a:t>
              </a:r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 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304225" y="4792039"/>
            <a:ext cx="7344816" cy="1008112"/>
            <a:chOff x="467544" y="5157192"/>
            <a:chExt cx="7344816" cy="1008112"/>
          </a:xfrm>
        </p:grpSpPr>
        <p:sp>
          <p:nvSpPr>
            <p:cNvPr id="13" name="Rectangle à coins arrondis 12"/>
            <p:cNvSpPr/>
            <p:nvPr/>
          </p:nvSpPr>
          <p:spPr>
            <a:xfrm>
              <a:off x="467544" y="5157192"/>
              <a:ext cx="1402192" cy="10081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b="1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Votre rôle…</a:t>
              </a:r>
              <a:endPara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  <p:sp>
          <p:nvSpPr>
            <p:cNvPr id="14" name="Rectangle à coins arrondis 13"/>
            <p:cNvSpPr/>
            <p:nvPr/>
          </p:nvSpPr>
          <p:spPr>
            <a:xfrm>
              <a:off x="2070049" y="5157192"/>
              <a:ext cx="5742311" cy="100811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  <a:p>
              <a:pPr algn="ctr"/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 L’aider dans sa prise de conscience et de distance</a:t>
              </a:r>
            </a:p>
            <a:p>
              <a:pPr algn="ctr"/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 </a:t>
              </a:r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  <a:sym typeface="Wingdings"/>
                </a:rPr>
                <a:t>Corréler ses objectifs avec ceux de l’entreprise</a:t>
              </a:r>
            </a:p>
            <a:p>
              <a:pPr algn="ctr"/>
              <a:r>
                <a:rPr lang="fr-FR" sz="1600" dirty="0">
                  <a:solidFill>
                    <a:schemeClr val="accent1">
                      <a:lumMod val="50000"/>
                    </a:schemeClr>
                  </a:solidFill>
                  <a:latin typeface="Gill Sans" panose="020B0604020202020204"/>
                </a:rPr>
                <a:t> L’ accompagner tout au long de sa progression</a:t>
              </a:r>
            </a:p>
            <a:p>
              <a:pPr algn="ctr"/>
              <a:endPara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endParaRPr>
            </a:p>
          </p:txBody>
        </p:sp>
      </p:grpSp>
      <p:graphicFrame>
        <p:nvGraphicFramePr>
          <p:cNvPr id="16" name="Diagramme 15"/>
          <p:cNvGraphicFramePr/>
          <p:nvPr>
            <p:extLst>
              <p:ext uri="{D42A27DB-BD31-4B8C-83A1-F6EECF244321}">
                <p14:modId xmlns:p14="http://schemas.microsoft.com/office/powerpoint/2010/main" val="3827217921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8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</a:t>
            </a:r>
            <a:r>
              <a:rPr lang="fr-FR" b="1" dirty="0" smtClean="0">
                <a:solidFill>
                  <a:srgbClr val="C2113A"/>
                </a:solidFill>
              </a:rPr>
              <a:t>PROFESSIONNEL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511921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782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Diapositive think-cell" r:id="rId7" imgW="425" imgH="426" progId="TCLayout.ActiveDocument.1">
                  <p:embed/>
                </p:oleObj>
              </mc:Choice>
              <mc:Fallback>
                <p:oleObj name="Diapositive think-cell" r:id="rId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000"/>
              </a:lnSpc>
            </a:pPr>
            <a:endParaRPr lang="fr-FR" sz="2000" dirty="0">
              <a:latin typeface="Gill Sans" panose="020B0604020202020204"/>
              <a:ea typeface="ＭＳ Ｐゴシック" panose="020B0600070205080204" pitchFamily="34" charset="-128"/>
              <a:sym typeface="Gill Sans" panose="020B0604020202020204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4225" y="958850"/>
            <a:ext cx="8534400" cy="4673600"/>
          </a:xfrm>
          <a:solidFill>
            <a:srgbClr val="FFFFFF"/>
          </a:solidFill>
          <a:ln/>
        </p:spPr>
        <p:txBody>
          <a:bodyPr lIns="0" tIns="0" rIns="0" bIns="0">
            <a:norm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 smtClean="0">
                <a:solidFill>
                  <a:srgbClr val="17375E"/>
                </a:solidFill>
                <a:latin typeface="Gill Sans" panose="020B0604020202020204"/>
              </a:rPr>
              <a:t>Le coaching de performance</a:t>
            </a:r>
            <a:endParaRPr lang="fr-FR" sz="2000" dirty="0">
              <a:solidFill>
                <a:srgbClr val="17375E"/>
              </a:solidFill>
              <a:latin typeface="Gill Sans" panose="020B060402020202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646889-9E54-42B1-B90E-3EFD9B1560F7}" type="slidenum">
              <a:rPr lang="fr-FR" smtClean="0"/>
              <a:pPr/>
              <a:t>9</a:t>
            </a:fld>
            <a:endParaRPr lang="fr-FR"/>
          </a:p>
        </p:txBody>
      </p:sp>
      <p:sp>
        <p:nvSpPr>
          <p:cNvPr id="7" name="Rectangle à coins arrondis 6"/>
          <p:cNvSpPr/>
          <p:nvPr/>
        </p:nvSpPr>
        <p:spPr>
          <a:xfrm>
            <a:off x="304225" y="2368962"/>
            <a:ext cx="1402192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Objectifs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8" name="Rectangle à coins arrondis 7"/>
          <p:cNvSpPr/>
          <p:nvPr/>
        </p:nvSpPr>
        <p:spPr>
          <a:xfrm>
            <a:off x="1906730" y="2368962"/>
            <a:ext cx="5742311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Développer la performance de la personne sur un ou plusieurs registres (opérationnel,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relationnel…)</a:t>
            </a:r>
            <a:endPara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9" name="Rectangle à coins arrondis 8"/>
          <p:cNvSpPr/>
          <p:nvPr/>
        </p:nvSpPr>
        <p:spPr>
          <a:xfrm>
            <a:off x="1906730" y="1504866"/>
            <a:ext cx="5742311" cy="720080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Lorsqu’un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de vos salarié vit une difficulté dans sa fonction.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304225" y="1504866"/>
            <a:ext cx="1402192" cy="720080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Quand ?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304225" y="3521090"/>
            <a:ext cx="1402192" cy="1296144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Comment ?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1906730" y="3521090"/>
            <a:ext cx="5742311" cy="1296144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Avoir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une écoute active</a:t>
            </a:r>
          </a:p>
          <a:p>
            <a:pPr algn="ctr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Mettre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à jour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ses </a:t>
            </a:r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vécus</a:t>
            </a:r>
          </a:p>
          <a:p>
            <a:pPr algn="ctr"/>
            <a:r>
              <a:rPr lang="fr-FR" sz="1600" dirty="0" smtClean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Prendre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en compte sa personnalité</a:t>
            </a:r>
            <a:endPara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3" name="Rectangle à coins arrondis 12"/>
          <p:cNvSpPr/>
          <p:nvPr/>
        </p:nvSpPr>
        <p:spPr>
          <a:xfrm>
            <a:off x="304225" y="4961250"/>
            <a:ext cx="1402192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Votre rôle…</a:t>
            </a:r>
            <a:endParaRPr lang="fr-FR" b="1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sp>
        <p:nvSpPr>
          <p:cNvPr id="14" name="Rectangle à coins arrondis 13"/>
          <p:cNvSpPr/>
          <p:nvPr/>
        </p:nvSpPr>
        <p:spPr>
          <a:xfrm>
            <a:off x="1906730" y="4961250"/>
            <a:ext cx="5742311" cy="1008112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Le rassurer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 </a:t>
            </a:r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  <a:sym typeface="Wingdings"/>
              </a:rPr>
              <a:t>Le remettre en confiance</a:t>
            </a:r>
          </a:p>
          <a:p>
            <a:pPr algn="ctr"/>
            <a:r>
              <a:rPr lang="fr-FR" sz="1600" dirty="0">
                <a:solidFill>
                  <a:schemeClr val="accent1">
                    <a:lumMod val="50000"/>
                  </a:schemeClr>
                </a:solidFill>
                <a:latin typeface="Gill Sans" panose="020B0604020202020204"/>
              </a:rPr>
              <a:t> Le remotiver</a:t>
            </a:r>
          </a:p>
          <a:p>
            <a:pPr algn="ctr"/>
            <a:endPara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/>
            </a:endParaRPr>
          </a:p>
        </p:txBody>
      </p:sp>
      <p:graphicFrame>
        <p:nvGraphicFramePr>
          <p:cNvPr id="16" name="Diagramme 15"/>
          <p:cNvGraphicFramePr/>
          <p:nvPr>
            <p:extLst>
              <p:ext uri="{D42A27DB-BD31-4B8C-83A1-F6EECF244321}">
                <p14:modId xmlns:p14="http://schemas.microsoft.com/office/powerpoint/2010/main" val="3980789819"/>
              </p:ext>
            </p:extLst>
          </p:nvPr>
        </p:nvGraphicFramePr>
        <p:xfrm>
          <a:off x="7956376" y="620688"/>
          <a:ext cx="1187624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7" name="Shape 32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>
              <a:buClr>
                <a:srgbClr val="C2113A"/>
              </a:buClr>
              <a:buSzPct val="25000"/>
            </a:pPr>
            <a:r>
              <a:rPr lang="fr-FR" b="1" dirty="0">
                <a:solidFill>
                  <a:srgbClr val="C2113A"/>
                </a:solidFill>
              </a:rPr>
              <a:t>PHASE 1 : CONTEXTE DU COACHING </a:t>
            </a:r>
            <a:r>
              <a:rPr lang="fr-FR" b="1" dirty="0" smtClean="0">
                <a:solidFill>
                  <a:srgbClr val="C2113A"/>
                </a:solidFill>
              </a:rPr>
              <a:t>PROFESSIONNEL</a:t>
            </a:r>
            <a:endParaRPr lang="fr-FR" b="1" dirty="0">
              <a:solidFill>
                <a:srgbClr val="C2113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706128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9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RjEhcASYevd3xQPJfd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SKwVimSkmqLFdXA3b_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qBOIJlSa._LBl9Kaef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JFfh36RzSwMwS2g7Ir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NOtoLSRre9NOSr59Fn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6cIlw.SoeIuC001EQg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mWdwPxSrqo9y5tbwCa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EXS8v9RF.ng2dIlPZT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Eg.aftTjuYWaxtQO9O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owF_WRRzexYTHcJTZ3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QvFrlvQKu1GyfM8JNt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UdoCzjTpS1wtOhC6QW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UgErp2QDmuYSpNPo2Wi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eLLIuQ26xW.miwYfQ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>
        <a:normAutofit fontScale="92500" lnSpcReduction="20000"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ontent empty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Back cover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11</TotalTime>
  <Words>2280</Words>
  <Application>Microsoft Office PowerPoint</Application>
  <PresentationFormat>Affichage à l'écran (4:3)</PresentationFormat>
  <Paragraphs>570</Paragraphs>
  <Slides>29</Slides>
  <Notes>18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</vt:vector>
  </HeadingPairs>
  <TitlesOfParts>
    <vt:vector size="40" baseType="lpstr">
      <vt:lpstr>ＭＳ Ｐゴシック</vt:lpstr>
      <vt:lpstr>Arial</vt:lpstr>
      <vt:lpstr>Calibri</vt:lpstr>
      <vt:lpstr>Gill Sans</vt:lpstr>
      <vt:lpstr>Gill Sans MT</vt:lpstr>
      <vt:lpstr>Lato</vt:lpstr>
      <vt:lpstr>Wingdings</vt:lpstr>
      <vt:lpstr>Thème Office</vt:lpstr>
      <vt:lpstr>Content empty</vt:lpstr>
      <vt:lpstr>Back cover</vt:lpstr>
      <vt:lpstr>Diapositive think-cell</vt:lpstr>
      <vt:lpstr>Présentation PowerPoint</vt:lpstr>
      <vt:lpstr>Présentation PowerPoint</vt:lpstr>
      <vt:lpstr>Le coaching?</vt:lpstr>
      <vt:lpstr>Présentation PowerPoint</vt:lpstr>
      <vt:lpstr>Le coaching d’équipe :</vt:lpstr>
      <vt:lpstr>En résumé… Pourquoi coacher ?</vt:lpstr>
      <vt:lpstr>Le coaching d’intégration</vt:lpstr>
      <vt:lpstr>Le coaching de croissance</vt:lpstr>
      <vt:lpstr>Le coaching de performance</vt:lpstr>
      <vt:lpstr>Le coaching de maintenance</vt:lpstr>
      <vt:lpstr>Les étapes du coaching</vt:lpstr>
      <vt:lpstr>Les savoir-être du manager/coach</vt:lpstr>
      <vt:lpstr>Les savoir-faire du manager/coach</vt:lpstr>
      <vt:lpstr>Métacommuniquer</vt:lpstr>
      <vt:lpstr>Les risques pour le coaché</vt:lpstr>
      <vt:lpstr>Les risques pour le manager</vt:lpstr>
      <vt:lpstr>Quand utiliser les méthodes de coaching ?</vt:lpstr>
      <vt:lpstr>Présentation PowerPoint</vt:lpstr>
      <vt:lpstr>Le Questionneme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e Questionneme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amah Dahhou</dc:creator>
  <cp:lastModifiedBy>SD</cp:lastModifiedBy>
  <cp:revision>282</cp:revision>
  <dcterms:created xsi:type="dcterms:W3CDTF">2015-12-09T11:43:05Z</dcterms:created>
  <dcterms:modified xsi:type="dcterms:W3CDTF">2019-06-16T20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A23E08E-9C6F-4902-96A8-4D267951159F</vt:lpwstr>
  </property>
  <property fmtid="{D5CDD505-2E9C-101B-9397-08002B2CF9AE}" pid="3" name="ArticulatePath">
    <vt:lpwstr>Qui suis-je_</vt:lpwstr>
  </property>
</Properties>
</file>